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2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3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4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5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6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2" r:id="rId5"/>
    <p:sldMasterId id="2147483684" r:id="rId6"/>
  </p:sldMasterIdLst>
  <p:notesMasterIdLst>
    <p:notesMasterId r:id="rId23"/>
  </p:notesMasterIdLst>
  <p:sldIdLst>
    <p:sldId id="462" r:id="rId7"/>
    <p:sldId id="452" r:id="rId8"/>
    <p:sldId id="666" r:id="rId9"/>
    <p:sldId id="541" r:id="rId10"/>
    <p:sldId id="1504" r:id="rId11"/>
    <p:sldId id="780" r:id="rId12"/>
    <p:sldId id="779" r:id="rId13"/>
    <p:sldId id="770" r:id="rId14"/>
    <p:sldId id="436" r:id="rId15"/>
    <p:sldId id="775" r:id="rId16"/>
    <p:sldId id="776" r:id="rId17"/>
    <p:sldId id="767" r:id="rId18"/>
    <p:sldId id="777" r:id="rId19"/>
    <p:sldId id="778" r:id="rId20"/>
    <p:sldId id="766" r:id="rId21"/>
    <p:sldId id="464" r:id="rId2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5C671F5-19AD-48A2-B40A-6B6E5A281214}" v="2" dt="2020-09-24T09:30:34.09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882" autoAdjust="0"/>
    <p:restoredTop sz="94660"/>
  </p:normalViewPr>
  <p:slideViewPr>
    <p:cSldViewPr snapToGrid="0">
      <p:cViewPr varScale="1">
        <p:scale>
          <a:sx n="67" d="100"/>
          <a:sy n="67" d="100"/>
        </p:scale>
        <p:origin x="618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354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notesMaster" Target="notesMasters/notesMaster1.xml"/><Relationship Id="rId28" Type="http://schemas.microsoft.com/office/2016/11/relationships/changesInfo" Target="changesInfos/changesInfo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ucy Maina" userId="97052824-afcf-4f5e-a547-11783fe8b4e9" providerId="ADAL" clId="{B5C671F5-19AD-48A2-B40A-6B6E5A281214}"/>
    <pc:docChg chg="delSld">
      <pc:chgData name="Lucy Maina" userId="97052824-afcf-4f5e-a547-11783fe8b4e9" providerId="ADAL" clId="{B5C671F5-19AD-48A2-B40A-6B6E5A281214}" dt="2020-09-24T09:29:38.775" v="0" actId="2696"/>
      <pc:docMkLst>
        <pc:docMk/>
      </pc:docMkLst>
      <pc:sldChg chg="del">
        <pc:chgData name="Lucy Maina" userId="97052824-afcf-4f5e-a547-11783fe8b4e9" providerId="ADAL" clId="{B5C671F5-19AD-48A2-B40A-6B6E5A281214}" dt="2020-09-24T09:29:38.775" v="0" actId="2696"/>
        <pc:sldMkLst>
          <pc:docMk/>
          <pc:sldMk cId="0" sldId="768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36CFB7-57C4-474D-BD3B-DA7F94C604CA}" type="datetimeFigureOut">
              <a:rPr lang="en-US" smtClean="0"/>
              <a:t>10/14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5A1F8F8-CF1A-4F58-8F8C-D1A8795AD6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23635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715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68987" y="4995588"/>
            <a:ext cx="5972836" cy="246221"/>
          </a:xfrm>
          <a:noFill/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59428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7FC59AF-249A-8D42-8ACA-21441AF76CA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57859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1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27000" y="582613"/>
            <a:ext cx="7272338" cy="4090987"/>
          </a:xfrm>
          <a:ln/>
        </p:spPr>
      </p:sp>
      <p:sp>
        <p:nvSpPr>
          <p:cNvPr id="13619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68987" y="4995586"/>
            <a:ext cx="5972836" cy="246221"/>
          </a:xfrm>
          <a:noFill/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4992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/>
            </a:r>
            <a:br>
              <a:rPr lang="en-US" dirty="0"/>
            </a:br>
            <a:endParaRPr lang="en-US" b="0" dirty="0">
              <a:effectLst/>
            </a:endParaRPr>
          </a:p>
          <a:p>
            <a:r>
              <a:rPr lang="en-US" b="0" dirty="0">
                <a:effectLst/>
              </a:rPr>
              <a:t/>
            </a:r>
            <a:br>
              <a:rPr lang="en-US" b="0" dirty="0">
                <a:effectLst/>
              </a:rPr>
            </a:br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B95E1F-0E16-9041-B7F2-F780B1DFEBE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240639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406B54-8024-488D-8DF8-D8703EE31F7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159481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/>
            </a:r>
            <a:br>
              <a:rPr lang="en-US" dirty="0"/>
            </a:br>
            <a:endParaRPr lang="en-US" b="0" dirty="0">
              <a:effectLst/>
            </a:endParaRPr>
          </a:p>
          <a:p>
            <a:r>
              <a:rPr lang="en-US" b="0" dirty="0">
                <a:effectLst/>
              </a:rPr>
              <a:t/>
            </a:r>
            <a:br>
              <a:rPr lang="en-US" b="0" dirty="0">
                <a:effectLst/>
              </a:rPr>
            </a:br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B95E1F-0E16-9041-B7F2-F780B1DFEBE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651509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1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27000" y="582613"/>
            <a:ext cx="7272338" cy="4090987"/>
          </a:xfrm>
          <a:ln/>
        </p:spPr>
      </p:sp>
      <p:sp>
        <p:nvSpPr>
          <p:cNvPr id="13619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68987" y="4995586"/>
            <a:ext cx="5972836" cy="246221"/>
          </a:xfrm>
          <a:noFill/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17934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02C90EB-9782-4916-8EC9-C596598351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DE12F4-909E-4B26-9120-FAF4EA524139}" type="datetimeFigureOut">
              <a:rPr lang="en-GB"/>
              <a:pPr>
                <a:defRPr/>
              </a:pPr>
              <a:t>14/10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57D417A-E199-4A74-A761-8A95AEF7F6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76D3BFC-077F-4E0D-BB80-2F722892B4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A98E0B-A4B8-4CAE-A2FC-CD28DE825275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6036337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19369C-A628-4802-87E0-E3633E912B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D166AE-801E-4562-B4DF-1E38F8692903}" type="datetimeFigureOut">
              <a:rPr lang="en-GB"/>
              <a:pPr>
                <a:defRPr/>
              </a:pPr>
              <a:t>14/10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2BF3069-0FBD-46D8-A10D-83622BDB2A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0BC92A-A613-4EB1-84DC-46A85661E2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98D8EE2-B2DF-4661-AD6D-52C48316A764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1460538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ED2137-295B-4DCB-84D5-E91DAF0473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A9FF30-97DD-4500-AA58-3FFFF46BAD4A}" type="datetimeFigureOut">
              <a:rPr lang="en-GB"/>
              <a:pPr>
                <a:defRPr/>
              </a:pPr>
              <a:t>14/10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6E92CA-DE8C-4F21-BB6D-459DC33FEA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9290592-6EE2-4859-A750-3D853389E5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5FA5A9-07B9-4B74-A6AA-B4D67740FD50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9621254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E7B928-FF05-4680-B9E6-9CBF46CCBEEC}" type="datetimeFigureOut">
              <a:rPr lang="en-US" smtClean="0"/>
              <a:t>10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1EA07C-EE9C-40C2-ADB5-5ED734F62B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96614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E7B928-FF05-4680-B9E6-9CBF46CCBEEC}" type="datetimeFigureOut">
              <a:rPr lang="en-US" smtClean="0"/>
              <a:t>10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1EA07C-EE9C-40C2-ADB5-5ED734F62B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55837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E7B928-FF05-4680-B9E6-9CBF46CCBEEC}" type="datetimeFigureOut">
              <a:rPr lang="en-US" smtClean="0"/>
              <a:t>10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1EA07C-EE9C-40C2-ADB5-5ED734F62B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86174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E7B928-FF05-4680-B9E6-9CBF46CCBEEC}" type="datetimeFigureOut">
              <a:rPr lang="en-US" smtClean="0"/>
              <a:t>10/14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1EA07C-EE9C-40C2-ADB5-5ED734F62B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739315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E7B928-FF05-4680-B9E6-9CBF46CCBEEC}" type="datetimeFigureOut">
              <a:rPr lang="en-US" smtClean="0"/>
              <a:t>10/14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1EA07C-EE9C-40C2-ADB5-5ED734F62B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598341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E7B928-FF05-4680-B9E6-9CBF46CCBEEC}" type="datetimeFigureOut">
              <a:rPr lang="en-US" smtClean="0"/>
              <a:t>10/14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1EA07C-EE9C-40C2-ADB5-5ED734F62B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908040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E7B928-FF05-4680-B9E6-9CBF46CCBEEC}" type="datetimeFigureOut">
              <a:rPr lang="en-US" smtClean="0"/>
              <a:t>10/14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1EA07C-EE9C-40C2-ADB5-5ED734F62B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595792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E7B928-FF05-4680-B9E6-9CBF46CCBEEC}" type="datetimeFigureOut">
              <a:rPr lang="en-US" smtClean="0"/>
              <a:t>10/14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1EA07C-EE9C-40C2-ADB5-5ED734F62B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38756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966B8B-38A1-460D-9DEB-77A5C81B68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839FBB-4CA1-479E-B4DA-CA7D41D3F592}" type="datetimeFigureOut">
              <a:rPr lang="en-GB"/>
              <a:pPr>
                <a:defRPr/>
              </a:pPr>
              <a:t>14/10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FBB0888-8DF2-40F1-9F99-D1FD06F442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D1CB91-1CB9-4610-A2F7-7419013433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9033EB-FB12-4457-8ECB-4B16BF0C4B7B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80404734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E7B928-FF05-4680-B9E6-9CBF46CCBEEC}" type="datetimeFigureOut">
              <a:rPr lang="en-US" smtClean="0"/>
              <a:t>10/14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1EA07C-EE9C-40C2-ADB5-5ED734F62B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852420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E7B928-FF05-4680-B9E6-9CBF46CCBEEC}" type="datetimeFigureOut">
              <a:rPr lang="en-US" smtClean="0"/>
              <a:t>10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1EA07C-EE9C-40C2-ADB5-5ED734F62B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879624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E7B928-FF05-4680-B9E6-9CBF46CCBEEC}" type="datetimeFigureOut">
              <a:rPr lang="en-US" smtClean="0"/>
              <a:t>10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1EA07C-EE9C-40C2-ADB5-5ED734F62B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69872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E7B928-FF05-4680-B9E6-9CBF46CCBEEC}" type="datetimeFigureOut">
              <a:rPr lang="en-US" smtClean="0"/>
              <a:t>10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1EA07C-EE9C-40C2-ADB5-5ED734F62B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337785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E7B928-FF05-4680-B9E6-9CBF46CCBEEC}" type="datetimeFigureOut">
              <a:rPr lang="en-US" smtClean="0"/>
              <a:t>10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1EA07C-EE9C-40C2-ADB5-5ED734F62B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251586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E7B928-FF05-4680-B9E6-9CBF46CCBEEC}" type="datetimeFigureOut">
              <a:rPr lang="en-US" smtClean="0"/>
              <a:t>10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1EA07C-EE9C-40C2-ADB5-5ED734F62B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816240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E7B928-FF05-4680-B9E6-9CBF46CCBEEC}" type="datetimeFigureOut">
              <a:rPr lang="en-US" smtClean="0"/>
              <a:t>10/14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1EA07C-EE9C-40C2-ADB5-5ED734F62B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868509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E7B928-FF05-4680-B9E6-9CBF46CCBEEC}" type="datetimeFigureOut">
              <a:rPr lang="en-US" smtClean="0"/>
              <a:t>10/14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1EA07C-EE9C-40C2-ADB5-5ED734F62B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353766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E7B928-FF05-4680-B9E6-9CBF46CCBEEC}" type="datetimeFigureOut">
              <a:rPr lang="en-US" smtClean="0"/>
              <a:t>10/14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1EA07C-EE9C-40C2-ADB5-5ED734F62B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642937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E7B928-FF05-4680-B9E6-9CBF46CCBEEC}" type="datetimeFigureOut">
              <a:rPr lang="en-US" smtClean="0"/>
              <a:t>10/14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1EA07C-EE9C-40C2-ADB5-5ED734F62B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09336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F0062D1-E95E-4747-BFC7-6BDA50E798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EF7295-2E5B-48DF-A312-7158BAB13828}" type="datetimeFigureOut">
              <a:rPr lang="en-GB"/>
              <a:pPr>
                <a:defRPr/>
              </a:pPr>
              <a:t>14/10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12CAAE9-744F-4F68-A5E4-9559BAB5BF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26F711-CF68-40D9-AA6C-4FD75649F9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F4C6F0-F5BC-4A1B-87A8-65BA41B6C515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18036639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E7B928-FF05-4680-B9E6-9CBF46CCBEEC}" type="datetimeFigureOut">
              <a:rPr lang="en-US" smtClean="0"/>
              <a:t>10/14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1EA07C-EE9C-40C2-ADB5-5ED734F62B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362079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E7B928-FF05-4680-B9E6-9CBF46CCBEEC}" type="datetimeFigureOut">
              <a:rPr lang="en-US" smtClean="0"/>
              <a:t>10/14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1EA07C-EE9C-40C2-ADB5-5ED734F62B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087897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E7B928-FF05-4680-B9E6-9CBF46CCBEEC}" type="datetimeFigureOut">
              <a:rPr lang="en-US" smtClean="0"/>
              <a:t>10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1EA07C-EE9C-40C2-ADB5-5ED734F62B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410212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E7B928-FF05-4680-B9E6-9CBF46CCBEEC}" type="datetimeFigureOut">
              <a:rPr lang="en-US" smtClean="0"/>
              <a:t>10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1EA07C-EE9C-40C2-ADB5-5ED734F62B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25427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139B5045-0A43-4DF7-BAD7-C54B5E439E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2CB657-FC40-45CD-A26A-A37CF117C0E2}" type="datetimeFigureOut">
              <a:rPr lang="en-GB"/>
              <a:pPr>
                <a:defRPr/>
              </a:pPr>
              <a:t>14/10/2020</a:t>
            </a:fld>
            <a:endParaRPr lang="en-GB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E75654ED-467D-492F-BFBC-0DF89E87F1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C62C68D-CD49-452B-8456-1B5F8BE662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8FE34A-19D5-497A-8DBE-0FDE74ED5553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1852827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7CE51CB7-F36D-468A-A8FD-D65D9ADDF7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0C3295-A77E-4A49-88C8-ECA45B2E9550}" type="datetimeFigureOut">
              <a:rPr lang="en-GB"/>
              <a:pPr>
                <a:defRPr/>
              </a:pPr>
              <a:t>14/10/2020</a:t>
            </a:fld>
            <a:endParaRPr lang="en-GB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48E11933-25B0-4F76-AA89-F8F7460666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4C621AB-3B4A-4D25-BF6F-D7BEC70E71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8F3C77-B9F8-45C5-95AA-57925DBE31A8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8462258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AD8841FE-F083-4CCC-9C75-8B76D6FE39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3DD4D09-853A-4E2D-95D6-537E04C7DFE1}" type="datetimeFigureOut">
              <a:rPr lang="en-GB"/>
              <a:pPr>
                <a:defRPr/>
              </a:pPr>
              <a:t>14/10/2020</a:t>
            </a:fld>
            <a:endParaRPr lang="en-GB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219F2ACF-431C-414B-99D6-57E738C628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8DB8CC29-8C76-4687-B1F2-EF386F1205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6F7EED-987A-4CCB-9A65-14C782963AA7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40896359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D2ACE481-CD25-4BB0-AE2F-439AC516FE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F61469-48D2-4DA4-9443-1A0D2E73A4AD}" type="datetimeFigureOut">
              <a:rPr lang="en-GB"/>
              <a:pPr>
                <a:defRPr/>
              </a:pPr>
              <a:t>14/10/2020</a:t>
            </a:fld>
            <a:endParaRPr lang="en-GB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B3F7D9B3-8B43-4780-A88E-0E8091EBE4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B3F274C1-737A-457D-9D9E-A291C33A3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B1A310-7866-4FA0-A7C8-3978BB8A1DC8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6963060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E8C95509-E526-4FE5-9830-D893A0D6EA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E04C51-A1B9-4115-AC36-D5EF7A1B9519}" type="datetimeFigureOut">
              <a:rPr lang="en-GB"/>
              <a:pPr>
                <a:defRPr/>
              </a:pPr>
              <a:t>14/10/2020</a:t>
            </a:fld>
            <a:endParaRPr lang="en-GB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66B00DD-FE33-4BC8-AC6D-763CC18E81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5C5A3DD-09CB-4F68-A84C-89F18B5EC4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1A1A335-1071-4026-B69B-EE3B0CD0482E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7841417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802B0297-5F6A-40A5-BE1A-F11EDEDA10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66A2F1-1017-4DDA-9253-19B328ED9CBE}" type="datetimeFigureOut">
              <a:rPr lang="en-GB"/>
              <a:pPr>
                <a:defRPr/>
              </a:pPr>
              <a:t>14/10/2020</a:t>
            </a:fld>
            <a:endParaRPr lang="en-GB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218D451-5C6B-4BC3-8E6C-9B5ACCDFD2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F0EB72D-87F8-4DE3-94FC-3442D665C5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5FCB89-7966-421D-8E17-4D50FF3B87A5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2014366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>
            <a:extLst>
              <a:ext uri="{FF2B5EF4-FFF2-40B4-BE49-F238E27FC236}">
                <a16:creationId xmlns:a16="http://schemas.microsoft.com/office/drawing/2014/main" id="{EC03CFAA-2857-443A-8AD9-991DBAE35C6E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GB" altLang="en-US"/>
          </a:p>
        </p:txBody>
      </p:sp>
      <p:sp>
        <p:nvSpPr>
          <p:cNvPr id="1027" name="Text Placeholder 2">
            <a:extLst>
              <a:ext uri="{FF2B5EF4-FFF2-40B4-BE49-F238E27FC236}">
                <a16:creationId xmlns:a16="http://schemas.microsoft.com/office/drawing/2014/main" id="{5AA84F6D-A387-44B0-8762-881B5682DFE6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GB" alt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169845-1B80-4C52-B4EA-99A449704C7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0628DC37-4945-42F2-A531-A2C58DF0C9D7}" type="datetimeFigureOut">
              <a:rPr lang="en-GB"/>
              <a:pPr>
                <a:defRPr/>
              </a:pPr>
              <a:t>14/10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FD4D9F-1F77-4F1D-AC29-DDBE5F76D3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EB26BB-2326-4FF6-AA27-13C868CA36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48F534EC-4766-4035-82B4-443EE5EC5E9D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5687469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E7B928-FF05-4680-B9E6-9CBF46CCBEEC}" type="datetimeFigureOut">
              <a:rPr lang="en-US" smtClean="0"/>
              <a:t>10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11EA07C-EE9C-40C2-ADB5-5ED734F62B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6725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E7B928-FF05-4680-B9E6-9CBF46CCBEEC}" type="datetimeFigureOut">
              <a:rPr lang="en-US" smtClean="0"/>
              <a:t>10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11EA07C-EE9C-40C2-ADB5-5ED734F62B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72191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3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6.xml"/><Relationship Id="rId3" Type="http://schemas.openxmlformats.org/officeDocument/2006/relationships/tags" Target="../tags/tag40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tags" Target="../tags/tag43.xml"/><Relationship Id="rId5" Type="http://schemas.openxmlformats.org/officeDocument/2006/relationships/tags" Target="../tags/tag42.xml"/><Relationship Id="rId4" Type="http://schemas.openxmlformats.org/officeDocument/2006/relationships/tags" Target="../tags/tag4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48.xml"/><Relationship Id="rId4" Type="http://schemas.openxmlformats.org/officeDocument/2006/relationships/tags" Target="../tags/tag4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50.xml"/><Relationship Id="rId7" Type="http://schemas.openxmlformats.org/officeDocument/2006/relationships/notesSlide" Target="../notesSlides/notesSlide7.xml"/><Relationship Id="rId2" Type="http://schemas.openxmlformats.org/officeDocument/2006/relationships/tags" Target="../tags/tag49.xml"/><Relationship Id="rId1" Type="http://schemas.openxmlformats.org/officeDocument/2006/relationships/vmlDrawing" Target="../drawings/vmlDrawing8.v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31.png"/><Relationship Id="rId5" Type="http://schemas.openxmlformats.org/officeDocument/2006/relationships/tags" Target="../tags/tag52.xml"/><Relationship Id="rId10" Type="http://schemas.openxmlformats.org/officeDocument/2006/relationships/image" Target="../media/image30.png"/><Relationship Id="rId4" Type="http://schemas.openxmlformats.org/officeDocument/2006/relationships/tags" Target="../tags/tag51.xml"/><Relationship Id="rId9" Type="http://schemas.openxmlformats.org/officeDocument/2006/relationships/image" Target="../media/image24.em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10" Type="http://schemas.openxmlformats.org/officeDocument/2006/relationships/image" Target="../media/image40.jpg"/><Relationship Id="rId4" Type="http://schemas.openxmlformats.org/officeDocument/2006/relationships/image" Target="../media/image34.png"/><Relationship Id="rId9" Type="http://schemas.openxmlformats.org/officeDocument/2006/relationships/image" Target="../media/image3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6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13" Type="http://schemas.openxmlformats.org/officeDocument/2006/relationships/image" Target="../media/image11.png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6.xml"/><Relationship Id="rId12" Type="http://schemas.openxmlformats.org/officeDocument/2006/relationships/image" Target="../media/image10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tags" Target="../tags/tag6.xml"/><Relationship Id="rId11" Type="http://schemas.openxmlformats.org/officeDocument/2006/relationships/image" Target="../media/image9.png"/><Relationship Id="rId5" Type="http://schemas.openxmlformats.org/officeDocument/2006/relationships/tags" Target="../tags/tag5.xml"/><Relationship Id="rId15" Type="http://schemas.openxmlformats.org/officeDocument/2006/relationships/image" Target="../media/image13.png"/><Relationship Id="rId10" Type="http://schemas.openxmlformats.org/officeDocument/2006/relationships/image" Target="../media/image8.png"/><Relationship Id="rId4" Type="http://schemas.openxmlformats.org/officeDocument/2006/relationships/tags" Target="../tags/tag4.xml"/><Relationship Id="rId9" Type="http://schemas.openxmlformats.org/officeDocument/2006/relationships/image" Target="../media/image4.emf"/><Relationship Id="rId1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5.png"/><Relationship Id="rId12" Type="http://schemas.openxmlformats.org/officeDocument/2006/relationships/image" Target="../media/image20.png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4.png"/><Relationship Id="rId11" Type="http://schemas.openxmlformats.org/officeDocument/2006/relationships/image" Target="../media/image19.png"/><Relationship Id="rId5" Type="http://schemas.openxmlformats.org/officeDocument/2006/relationships/image" Target="../media/image4.emf"/><Relationship Id="rId10" Type="http://schemas.openxmlformats.org/officeDocument/2006/relationships/image" Target="../media/image18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emf"/><Relationship Id="rId3" Type="http://schemas.openxmlformats.org/officeDocument/2006/relationships/tags" Target="../tags/tag9.xml"/><Relationship Id="rId7" Type="http://schemas.openxmlformats.org/officeDocument/2006/relationships/oleObject" Target="../embeddings/oleObject4.bin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6.xml"/><Relationship Id="rId10" Type="http://schemas.openxmlformats.org/officeDocument/2006/relationships/image" Target="../media/image23.png"/><Relationship Id="rId4" Type="http://schemas.openxmlformats.org/officeDocument/2006/relationships/tags" Target="../tags/tag10.xml"/><Relationship Id="rId9" Type="http://schemas.openxmlformats.org/officeDocument/2006/relationships/image" Target="../media/image2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24.emf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oleObject" Target="../embeddings/oleObject5.bin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tags" Target="../tags/tag15.xml"/><Relationship Id="rId11" Type="http://schemas.openxmlformats.org/officeDocument/2006/relationships/notesSlide" Target="../notesSlides/notesSlide2.xml"/><Relationship Id="rId5" Type="http://schemas.openxmlformats.org/officeDocument/2006/relationships/tags" Target="../tags/tag14.xml"/><Relationship Id="rId10" Type="http://schemas.openxmlformats.org/officeDocument/2006/relationships/slideLayout" Target="../slideLayouts/slideLayout6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20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19.xml"/><Relationship Id="rId1" Type="http://schemas.openxmlformats.org/officeDocument/2006/relationships/vmlDrawing" Target="../drawings/vmlDrawing6.v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22.xml"/><Relationship Id="rId10" Type="http://schemas.openxmlformats.org/officeDocument/2006/relationships/image" Target="../media/image26.png"/><Relationship Id="rId4" Type="http://schemas.openxmlformats.org/officeDocument/2006/relationships/tags" Target="../tags/tag21.xml"/><Relationship Id="rId9" Type="http://schemas.openxmlformats.org/officeDocument/2006/relationships/image" Target="../media/image24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notesSlide" Target="../notesSlides/notesSlide4.xml"/><Relationship Id="rId5" Type="http://schemas.openxmlformats.org/officeDocument/2006/relationships/tags" Target="../tags/tag27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26.xml"/><Relationship Id="rId9" Type="http://schemas.openxmlformats.org/officeDocument/2006/relationships/tags" Target="../tags/tag3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2" Type="http://schemas.openxmlformats.org/officeDocument/2006/relationships/tags" Target="../tags/tag32.xml"/><Relationship Id="rId1" Type="http://schemas.openxmlformats.org/officeDocument/2006/relationships/vmlDrawing" Target="../drawings/vmlDrawing7.vml"/><Relationship Id="rId6" Type="http://schemas.openxmlformats.org/officeDocument/2006/relationships/tags" Target="../tags/tag36.xml"/><Relationship Id="rId11" Type="http://schemas.openxmlformats.org/officeDocument/2006/relationships/image" Target="../media/image24.emf"/><Relationship Id="rId5" Type="http://schemas.openxmlformats.org/officeDocument/2006/relationships/tags" Target="../tags/tag35.xml"/><Relationship Id="rId10" Type="http://schemas.openxmlformats.org/officeDocument/2006/relationships/oleObject" Target="../embeddings/oleObject7.bin"/><Relationship Id="rId4" Type="http://schemas.openxmlformats.org/officeDocument/2006/relationships/tags" Target="../tags/tag34.xml"/><Relationship Id="rId9" Type="http://schemas.openxmlformats.org/officeDocument/2006/relationships/notesSlide" Target="../notesSlides/notesSlid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6" name="Rectangle 8">
            <a:extLst>
              <a:ext uri="{FF2B5EF4-FFF2-40B4-BE49-F238E27FC236}">
                <a16:creationId xmlns:a16="http://schemas.microsoft.com/office/drawing/2014/main" id="{A169D286-F4D7-4C8B-A6BD-D05384C7F1D8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39E8235E-135E-4261-8F54-2B316E493C42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142164" y="610728"/>
            <a:ext cx="759618" cy="5710965"/>
          </a:xfrm>
          <a:custGeom>
            <a:avLst/>
            <a:gdLst>
              <a:gd name="T0" fmla="*/ 414 w 414"/>
              <a:gd name="T1" fmla="*/ 2447 h 2447"/>
              <a:gd name="T2" fmla="*/ 0 w 414"/>
              <a:gd name="T3" fmla="*/ 2247 h 2447"/>
              <a:gd name="T4" fmla="*/ 0 w 414"/>
              <a:gd name="T5" fmla="*/ 0 h 2447"/>
              <a:gd name="T6" fmla="*/ 414 w 414"/>
              <a:gd name="T7" fmla="*/ 200 h 2447"/>
              <a:gd name="T8" fmla="*/ 414 w 414"/>
              <a:gd name="T9" fmla="*/ 2447 h 24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14" h="2447">
                <a:moveTo>
                  <a:pt x="414" y="2447"/>
                </a:moveTo>
                <a:lnTo>
                  <a:pt x="0" y="2247"/>
                </a:lnTo>
                <a:lnTo>
                  <a:pt x="0" y="0"/>
                </a:lnTo>
                <a:lnTo>
                  <a:pt x="414" y="200"/>
                </a:lnTo>
                <a:lnTo>
                  <a:pt x="414" y="2447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D4ED8EC3-4D57-4620-93CE-4E6661F09A3E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144437" y="343079"/>
            <a:ext cx="482654" cy="5521414"/>
          </a:xfrm>
          <a:custGeom>
            <a:avLst/>
            <a:gdLst>
              <a:gd name="T0" fmla="*/ 209 w 209"/>
              <a:gd name="T1" fmla="*/ 2246 h 2358"/>
              <a:gd name="T2" fmla="*/ 0 w 209"/>
              <a:gd name="T3" fmla="*/ 2358 h 2358"/>
              <a:gd name="T4" fmla="*/ 0 w 209"/>
              <a:gd name="T5" fmla="*/ 111 h 2358"/>
              <a:gd name="T6" fmla="*/ 209 w 209"/>
              <a:gd name="T7" fmla="*/ 0 h 2358"/>
              <a:gd name="T8" fmla="*/ 209 w 209"/>
              <a:gd name="T9" fmla="*/ 2246 h 2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9" h="2358">
                <a:moveTo>
                  <a:pt x="209" y="2246"/>
                </a:moveTo>
                <a:lnTo>
                  <a:pt x="0" y="2358"/>
                </a:lnTo>
                <a:lnTo>
                  <a:pt x="0" y="111"/>
                </a:lnTo>
                <a:lnTo>
                  <a:pt x="209" y="0"/>
                </a:lnTo>
                <a:lnTo>
                  <a:pt x="209" y="2246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Freeform: Shape 14">
            <a:extLst>
              <a:ext uri="{FF2B5EF4-FFF2-40B4-BE49-F238E27FC236}">
                <a16:creationId xmlns:a16="http://schemas.microsoft.com/office/drawing/2014/main" id="{83BCB34A-2F40-4F41-8488-A134C1C155B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3045" y="340424"/>
            <a:ext cx="4630139" cy="5265795"/>
          </a:xfrm>
          <a:custGeom>
            <a:avLst/>
            <a:gdLst>
              <a:gd name="connsiteX0" fmla="*/ 0 w 4630139"/>
              <a:gd name="connsiteY0" fmla="*/ 0 h 5265795"/>
              <a:gd name="connsiteX1" fmla="*/ 4630139 w 4630139"/>
              <a:gd name="connsiteY1" fmla="*/ 0 h 5265795"/>
              <a:gd name="connsiteX2" fmla="*/ 4630139 w 4630139"/>
              <a:gd name="connsiteY2" fmla="*/ 5265795 h 5265795"/>
              <a:gd name="connsiteX3" fmla="*/ 0 w 4630139"/>
              <a:gd name="connsiteY3" fmla="*/ 5265795 h 52657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30139" h="5265795">
                <a:moveTo>
                  <a:pt x="0" y="0"/>
                </a:moveTo>
                <a:lnTo>
                  <a:pt x="4630139" y="0"/>
                </a:lnTo>
                <a:lnTo>
                  <a:pt x="4630139" y="5265795"/>
                </a:lnTo>
                <a:lnTo>
                  <a:pt x="0" y="5265795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Freeform: Shape 16">
            <a:extLst>
              <a:ext uri="{FF2B5EF4-FFF2-40B4-BE49-F238E27FC236}">
                <a16:creationId xmlns:a16="http://schemas.microsoft.com/office/drawing/2014/main" id="{F78382DC-4207-465E-B379-1E16448AA222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901780" y="1071563"/>
            <a:ext cx="7290218" cy="5242298"/>
          </a:xfrm>
          <a:custGeom>
            <a:avLst/>
            <a:gdLst>
              <a:gd name="connsiteX0" fmla="*/ 0 w 7290218"/>
              <a:gd name="connsiteY0" fmla="*/ 0 h 5242298"/>
              <a:gd name="connsiteX1" fmla="*/ 7290218 w 7290218"/>
              <a:gd name="connsiteY1" fmla="*/ 0 h 5242298"/>
              <a:gd name="connsiteX2" fmla="*/ 7290218 w 7290218"/>
              <a:gd name="connsiteY2" fmla="*/ 5242298 h 5242298"/>
              <a:gd name="connsiteX3" fmla="*/ 0 w 7290218"/>
              <a:gd name="connsiteY3" fmla="*/ 5242298 h 52422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90218" h="5242298">
                <a:moveTo>
                  <a:pt x="0" y="0"/>
                </a:moveTo>
                <a:lnTo>
                  <a:pt x="7290218" y="0"/>
                </a:lnTo>
                <a:lnTo>
                  <a:pt x="7290218" y="5242298"/>
                </a:lnTo>
                <a:lnTo>
                  <a:pt x="0" y="5242298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AB04668-EF9C-4D02-9B11-B5CE9621D9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48" y="0"/>
            <a:ext cx="4624043" cy="1113325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816AE2A-EB02-4C36-8442-EB5BF71C3461}"/>
              </a:ext>
            </a:extLst>
          </p:cNvPr>
          <p:cNvSpPr/>
          <p:nvPr/>
        </p:nvSpPr>
        <p:spPr>
          <a:xfrm>
            <a:off x="3048" y="2182788"/>
            <a:ext cx="4624043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THE KENYA NUTRITION SCORECARD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6413BF4-E202-4D59-B9D6-5A154085FA0B}"/>
              </a:ext>
            </a:extLst>
          </p:cNvPr>
          <p:cNvSpPr/>
          <p:nvPr/>
        </p:nvSpPr>
        <p:spPr>
          <a:xfrm>
            <a:off x="5176468" y="5932686"/>
            <a:ext cx="677379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 Kenya Nutritionn Information Technical Working Group (NITWG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A3F37EB-5283-4240-8BE6-6B014B3141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8745" y="3429000"/>
            <a:ext cx="2166557" cy="217721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5F4CCFD-CC22-40D9-A315-54B66E4B4CC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81589" y="1284221"/>
            <a:ext cx="6573051" cy="45302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791559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629266" y="106306"/>
            <a:ext cx="11189113" cy="58308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rgbClr val="0099FF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</a:rPr>
              <a:t>The Kenyan  Nutrition scorecard  indicators</a:t>
            </a:r>
            <a:endParaRPr kumimoji="0" lang="fr-CH" sz="2800" b="1" i="1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 panose="020F0502020204030204"/>
              <a:ea typeface="Arial" charset="0"/>
              <a:cs typeface="Cambria"/>
            </a:endParaRP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96638ADD-BD6F-4173-A2AE-59D81DF92C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6220" y="821906"/>
            <a:ext cx="8645121" cy="372022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2000" b="1" dirty="0">
                <a:cs typeface="Arial" panose="020B0604020202020204" pitchFamily="34" charset="0"/>
              </a:rPr>
              <a:t>Sub National Categories and Indicators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506F06C4-FBC5-4B5D-BEC0-622F828EAECC}"/>
              </a:ext>
            </a:extLst>
          </p:cNvPr>
          <p:cNvGrpSpPr/>
          <p:nvPr/>
        </p:nvGrpSpPr>
        <p:grpSpPr>
          <a:xfrm>
            <a:off x="629266" y="1520643"/>
            <a:ext cx="10641794" cy="5170862"/>
            <a:chOff x="634430" y="1733073"/>
            <a:chExt cx="10613366" cy="4458602"/>
          </a:xfrm>
        </p:grpSpPr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F7723AE1-B7F5-4304-AEAD-D9BC605CEDE1}"/>
                </a:ext>
              </a:extLst>
            </p:cNvPr>
            <p:cNvGrpSpPr/>
            <p:nvPr/>
          </p:nvGrpSpPr>
          <p:grpSpPr>
            <a:xfrm>
              <a:off x="634430" y="1755113"/>
              <a:ext cx="3209113" cy="4153932"/>
              <a:chOff x="634430" y="1755113"/>
              <a:chExt cx="3209113" cy="4153932"/>
            </a:xfrm>
          </p:grpSpPr>
          <p:sp>
            <p:nvSpPr>
              <p:cNvPr id="55" name="Freeform 11">
                <a:extLst>
                  <a:ext uri="{FF2B5EF4-FFF2-40B4-BE49-F238E27FC236}">
                    <a16:creationId xmlns:a16="http://schemas.microsoft.com/office/drawing/2014/main" id="{C71FDCA3-B077-4288-8C0B-FF06AA147E23}"/>
                  </a:ext>
                </a:extLst>
              </p:cNvPr>
              <p:cNvSpPr/>
              <p:nvPr>
                <p:custDataLst>
                  <p:tags r:id="rId5"/>
                </p:custDataLst>
              </p:nvPr>
            </p:nvSpPr>
            <p:spPr bwMode="auto">
              <a:xfrm>
                <a:off x="661312" y="1755113"/>
                <a:ext cx="3182231" cy="700916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1 h 914400"/>
                  <a:gd name="connsiteX0" fmla="*/ 0 w 1828800"/>
                  <a:gd name="connsiteY0" fmla="*/ 0 h 914400"/>
                  <a:gd name="connsiteX1" fmla="*/ 1749399 w 1828800"/>
                  <a:gd name="connsiteY1" fmla="*/ 1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1 h 914400"/>
                  <a:gd name="connsiteX0" fmla="*/ 0 w 1828800"/>
                  <a:gd name="connsiteY0" fmla="*/ 0 h 914402"/>
                  <a:gd name="connsiteX1" fmla="*/ 1749399 w 1828800"/>
                  <a:gd name="connsiteY1" fmla="*/ 1 h 914402"/>
                  <a:gd name="connsiteX2" fmla="*/ 1828800 w 1828800"/>
                  <a:gd name="connsiteY2" fmla="*/ 457200 h 914402"/>
                  <a:gd name="connsiteX3" fmla="*/ 1749399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1 h 914402"/>
                  <a:gd name="connsiteX0" fmla="*/ 0 w 1828800"/>
                  <a:gd name="connsiteY0" fmla="*/ 0 h 914402"/>
                  <a:gd name="connsiteX1" fmla="*/ 1749399 w 1828800"/>
                  <a:gd name="connsiteY1" fmla="*/ 1 h 914402"/>
                  <a:gd name="connsiteX2" fmla="*/ 1828800 w 1828800"/>
                  <a:gd name="connsiteY2" fmla="*/ 457200 h 914402"/>
                  <a:gd name="connsiteX3" fmla="*/ 1749399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710268 w 1828800"/>
                  <a:gd name="connsiteY1" fmla="*/ 0 h 914402"/>
                  <a:gd name="connsiteX2" fmla="*/ 1828800 w 1828800"/>
                  <a:gd name="connsiteY2" fmla="*/ 457200 h 914402"/>
                  <a:gd name="connsiteX3" fmla="*/ 1749399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710268 w 1828800"/>
                  <a:gd name="connsiteY1" fmla="*/ 0 h 914402"/>
                  <a:gd name="connsiteX2" fmla="*/ 1828800 w 1828800"/>
                  <a:gd name="connsiteY2" fmla="*/ 457200 h 914402"/>
                  <a:gd name="connsiteX3" fmla="*/ 1710268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710268 w 1828800"/>
                  <a:gd name="connsiteY1" fmla="*/ 0 h 914402"/>
                  <a:gd name="connsiteX2" fmla="*/ 1828800 w 1828800"/>
                  <a:gd name="connsiteY2" fmla="*/ 457200 h 914402"/>
                  <a:gd name="connsiteX3" fmla="*/ 1710268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4266 w 1828800"/>
                  <a:gd name="connsiteY1" fmla="*/ 0 h 914402"/>
                  <a:gd name="connsiteX2" fmla="*/ 1828800 w 1828800"/>
                  <a:gd name="connsiteY2" fmla="*/ 457200 h 914402"/>
                  <a:gd name="connsiteX3" fmla="*/ 1710268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4266 w 1828800"/>
                  <a:gd name="connsiteY1" fmla="*/ 0 h 914402"/>
                  <a:gd name="connsiteX2" fmla="*/ 1828800 w 1828800"/>
                  <a:gd name="connsiteY2" fmla="*/ 457200 h 914402"/>
                  <a:gd name="connsiteX3" fmla="*/ 1674266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4266 w 1828800"/>
                  <a:gd name="connsiteY1" fmla="*/ 0 h 914402"/>
                  <a:gd name="connsiteX2" fmla="*/ 1828800 w 1828800"/>
                  <a:gd name="connsiteY2" fmla="*/ 457200 h 914402"/>
                  <a:gd name="connsiteX3" fmla="*/ 1674266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4266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43664"/>
                  <a:gd name="connsiteY0" fmla="*/ 0 h 914402"/>
                  <a:gd name="connsiteX1" fmla="*/ 1843664 w 1843664"/>
                  <a:gd name="connsiteY1" fmla="*/ 0 h 914402"/>
                  <a:gd name="connsiteX2" fmla="*/ 1828800 w 1843664"/>
                  <a:gd name="connsiteY2" fmla="*/ 457200 h 914402"/>
                  <a:gd name="connsiteX3" fmla="*/ 1676501 w 1843664"/>
                  <a:gd name="connsiteY3" fmla="*/ 914402 h 914402"/>
                  <a:gd name="connsiteX4" fmla="*/ 0 w 1843664"/>
                  <a:gd name="connsiteY4" fmla="*/ 914400 h 914402"/>
                  <a:gd name="connsiteX5" fmla="*/ 0 w 1843664"/>
                  <a:gd name="connsiteY5" fmla="*/ 457202 h 914402"/>
                  <a:gd name="connsiteX0" fmla="*/ 0 w 1843664"/>
                  <a:gd name="connsiteY0" fmla="*/ 0 h 914402"/>
                  <a:gd name="connsiteX1" fmla="*/ 1843664 w 1843664"/>
                  <a:gd name="connsiteY1" fmla="*/ 0 h 914402"/>
                  <a:gd name="connsiteX2" fmla="*/ 1828800 w 1843664"/>
                  <a:gd name="connsiteY2" fmla="*/ 457200 h 914402"/>
                  <a:gd name="connsiteX3" fmla="*/ 1843663 w 1843664"/>
                  <a:gd name="connsiteY3" fmla="*/ 914402 h 914402"/>
                  <a:gd name="connsiteX4" fmla="*/ 0 w 1843664"/>
                  <a:gd name="connsiteY4" fmla="*/ 914400 h 914402"/>
                  <a:gd name="connsiteX5" fmla="*/ 0 w 1843664"/>
                  <a:gd name="connsiteY5" fmla="*/ 457202 h 914402"/>
                  <a:gd name="connsiteX0" fmla="*/ 0 w 1843664"/>
                  <a:gd name="connsiteY0" fmla="*/ 0 h 914402"/>
                  <a:gd name="connsiteX1" fmla="*/ 1843664 w 1843664"/>
                  <a:gd name="connsiteY1" fmla="*/ 0 h 914402"/>
                  <a:gd name="connsiteX2" fmla="*/ 1828800 w 1843664"/>
                  <a:gd name="connsiteY2" fmla="*/ 457200 h 914402"/>
                  <a:gd name="connsiteX3" fmla="*/ 1843663 w 1843664"/>
                  <a:gd name="connsiteY3" fmla="*/ 914402 h 914402"/>
                  <a:gd name="connsiteX4" fmla="*/ 0 w 1843664"/>
                  <a:gd name="connsiteY4" fmla="*/ 914400 h 914402"/>
                  <a:gd name="connsiteX5" fmla="*/ 0 w 1843664"/>
                  <a:gd name="connsiteY5" fmla="*/ 457202 h 914402"/>
                  <a:gd name="connsiteX0" fmla="*/ 0 w 1843663"/>
                  <a:gd name="connsiteY0" fmla="*/ 0 h 914402"/>
                  <a:gd name="connsiteX1" fmla="*/ 1757695 w 1843663"/>
                  <a:gd name="connsiteY1" fmla="*/ 0 h 914402"/>
                  <a:gd name="connsiteX2" fmla="*/ 1828800 w 1843663"/>
                  <a:gd name="connsiteY2" fmla="*/ 457200 h 914402"/>
                  <a:gd name="connsiteX3" fmla="*/ 1843663 w 1843663"/>
                  <a:gd name="connsiteY3" fmla="*/ 914402 h 914402"/>
                  <a:gd name="connsiteX4" fmla="*/ 0 w 1843663"/>
                  <a:gd name="connsiteY4" fmla="*/ 914400 h 914402"/>
                  <a:gd name="connsiteX5" fmla="*/ 0 w 1843663"/>
                  <a:gd name="connsiteY5" fmla="*/ 457202 h 914402"/>
                  <a:gd name="connsiteX0" fmla="*/ 0 w 1828800"/>
                  <a:gd name="connsiteY0" fmla="*/ 0 h 914402"/>
                  <a:gd name="connsiteX1" fmla="*/ 1757695 w 1828800"/>
                  <a:gd name="connsiteY1" fmla="*/ 0 h 914402"/>
                  <a:gd name="connsiteX2" fmla="*/ 1828800 w 1828800"/>
                  <a:gd name="connsiteY2" fmla="*/ 457200 h 914402"/>
                  <a:gd name="connsiteX3" fmla="*/ 1757695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2">
                    <a:moveTo>
                      <a:pt x="0" y="0"/>
                    </a:moveTo>
                    <a:lnTo>
                      <a:pt x="1757695" y="0"/>
                    </a:lnTo>
                    <a:lnTo>
                      <a:pt x="1828800" y="457200"/>
                    </a:lnTo>
                    <a:lnTo>
                      <a:pt x="1757695" y="914402"/>
                    </a:lnTo>
                    <a:lnTo>
                      <a:pt x="0" y="914400"/>
                    </a:lnTo>
                    <a:lnTo>
                      <a:pt x="0" y="457202"/>
                    </a:lnTo>
                    <a:close/>
                  </a:path>
                </a:pathLst>
              </a:custGeom>
              <a:solidFill>
                <a:schemeClr val="tx1"/>
              </a:solidFill>
              <a:ln w="25400" cap="flat" cmpd="sng" algn="ctr">
                <a:noFill/>
                <a:prstDash val="solid"/>
                <a:headEnd/>
                <a:tailEnd/>
              </a:ln>
              <a:effectLst/>
            </p:spPr>
            <p:txBody>
              <a:bodyPr lIns="70613" tIns="70613" rIns="70613" bIns="70613" anchor="ctr">
                <a:noAutofit/>
              </a:bodyPr>
              <a:lstStyle/>
              <a:p>
                <a:pPr marL="0" marR="0" lvl="0" indent="0" algn="l" defTabSz="879881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 typeface="Arial" charset="0"/>
                  <a:buChar char="▪"/>
                  <a:tabLst/>
                  <a:defRPr/>
                </a:pPr>
                <a:endPara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56" name="TextBox 4">
                <a:extLst>
                  <a:ext uri="{FF2B5EF4-FFF2-40B4-BE49-F238E27FC236}">
                    <a16:creationId xmlns:a16="http://schemas.microsoft.com/office/drawing/2014/main" id="{A2D1515E-9ECA-455A-9905-2E074E61A720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661311" y="1761021"/>
                <a:ext cx="3167888" cy="84922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marL="0" indent="0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193675" indent="-192088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600">
                    <a:solidFill>
                      <a:schemeClr val="tx1"/>
                    </a:solidFill>
                    <a:latin typeface="+mn-lt"/>
                  </a:defRPr>
                </a:lvl2pPr>
                <a:lvl3pPr marL="457200" indent="-261938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600">
                    <a:solidFill>
                      <a:schemeClr val="tx1"/>
                    </a:solidFill>
                    <a:latin typeface="+mn-lt"/>
                  </a:defRPr>
                </a:lvl3pPr>
                <a:lvl4pPr marL="614363" indent="-1555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600">
                    <a:solidFill>
                      <a:schemeClr val="tx1"/>
                    </a:solidFill>
                    <a:latin typeface="+mn-lt"/>
                  </a:defRPr>
                </a:lvl4pPr>
                <a:lvl5pPr marL="746125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5pPr>
                <a:lvl6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6pPr>
                <a:lvl7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7pPr>
                <a:lvl8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8pPr>
                <a:lvl9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</a:t>
                </a:r>
                <a:r>
                  <a:rPr kumimoji="0" 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 panose="020F0502020204030204" pitchFamily="34" charset="0"/>
                    <a:cs typeface="Arial" panose="020B0604020202020204" pitchFamily="34" charset="0"/>
                  </a:rPr>
                  <a:t>Maternal, Infant, Young Child, older children and Adolescent nutrition</a:t>
                </a:r>
                <a:endPara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marL="0" marR="0" lvl="0" indent="0" algn="l" defTabSz="91352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Tx/>
                  <a:buNone/>
                  <a:tabLst/>
                  <a:defRPr/>
                </a:pP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</a:t>
                </a:r>
              </a:p>
            </p:txBody>
          </p:sp>
          <p:sp>
            <p:nvSpPr>
              <p:cNvPr id="57" name="Rectangle 37">
                <a:extLst>
                  <a:ext uri="{FF2B5EF4-FFF2-40B4-BE49-F238E27FC236}">
                    <a16:creationId xmlns:a16="http://schemas.microsoft.com/office/drawing/2014/main" id="{82BBB8F9-D6EE-4341-ABBA-98B7DA10A7A5}"/>
                  </a:ext>
                </a:extLst>
              </p:cNvPr>
              <p:cNvSpPr txBox="1"/>
              <p:nvPr/>
            </p:nvSpPr>
            <p:spPr>
              <a:xfrm>
                <a:off x="634430" y="2862461"/>
                <a:ext cx="3121368" cy="3046584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vert="horz" wrap="square" lIns="0" tIns="0" rIns="0" bIns="0" rtlCol="0" anchor="t" anchorCtr="0">
                <a:spAutoFit/>
              </a:bodyPr>
              <a:lstStyle>
                <a:lvl1pPr marL="0" lvl="0" indent="0" defTabSz="895350">
                  <a:buFontTx/>
                  <a:buNone/>
                  <a:defRPr sz="1600">
                    <a:latin typeface="+mn-lt"/>
                  </a:defRPr>
                </a:lvl1pPr>
                <a:lvl2pPr marL="193675" indent="-192088" defTabSz="895350">
                  <a:defRPr sz="1600">
                    <a:latin typeface="+mn-lt"/>
                  </a:defRPr>
                </a:lvl2pPr>
                <a:lvl3pPr marL="457200" indent="-261938" defTabSz="895350">
                  <a:buSzPct val="120000"/>
                  <a:buChar char="–"/>
                  <a:defRPr sz="1600">
                    <a:latin typeface="+mn-lt"/>
                  </a:defRPr>
                </a:lvl3pPr>
                <a:lvl4pPr marL="614363" indent="-155575" defTabSz="895350">
                  <a:buSzPct val="120000"/>
                  <a:buChar char="▫"/>
                  <a:defRPr sz="1600">
                    <a:latin typeface="+mn-lt"/>
                  </a:defRPr>
                </a:lvl4pPr>
                <a:lvl5pPr marL="746125" indent="-130175" defTabSz="895350">
                  <a:buSzPct val="89000"/>
                  <a:buChar char="-"/>
                  <a:defRPr sz="1600">
                    <a:latin typeface="+mn-lt"/>
                  </a:defRPr>
                </a:lvl5pPr>
                <a:lvl6pPr marL="12033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latin typeface="+mn-lt"/>
                  </a:defRPr>
                </a:lvl6pPr>
                <a:lvl7pPr marL="16605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latin typeface="+mn-lt"/>
                  </a:defRPr>
                </a:lvl7pPr>
                <a:lvl8pPr marL="21177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latin typeface="+mn-lt"/>
                  </a:defRPr>
                </a:lvl8pPr>
                <a:lvl9pPr marL="25749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latin typeface="+mn-lt"/>
                  </a:defRPr>
                </a:lvl9pPr>
              </a:lstStyle>
              <a:p>
                <a:pPr marL="1620" marR="0" lvl="1" indent="0" algn="l" defTabSz="913526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Tx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  <a:p>
                <a:pPr marL="193675" marR="0" lvl="1" indent="-192088" algn="l" defTabSz="895350" rtl="0" eaLnBrk="1" fontAlgn="t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 typeface="Arial" charset="0"/>
                  <a:buChar char="▪"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Under 5 who are attending CWC for growth monitoring for the first time during the calendar year</a:t>
                </a:r>
              </a:p>
              <a:p>
                <a:pPr marL="193675" marR="0" lvl="1" indent="-192088" algn="l" defTabSz="895350" rtl="0" eaLnBrk="1" fontAlgn="t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 typeface="Arial" charset="0"/>
                  <a:buChar char="▪"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  <a:p>
                <a:pPr marL="193675" marR="0" lvl="1" indent="-192088" algn="l" defTabSz="895350" rtl="0" eaLnBrk="1" fontAlgn="t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 typeface="Arial" charset="0"/>
                  <a:buChar char="▪"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Proportion of new ANC clients with HB &lt; 11g/dl</a:t>
                </a: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  <a:p>
                <a:pPr marL="193675" marR="0" lvl="1" indent="-192088" algn="l" defTabSz="895350" rtl="0" eaLnBrk="1" fontAlgn="t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 typeface="Arial" charset="0"/>
                  <a:buChar char="▪"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  <a:p>
                <a:pPr marL="193675" marR="0" lvl="1" indent="-192088" algn="l" defTabSz="895350" rtl="0" eaLnBrk="1" fontAlgn="t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 typeface="Arial" charset="0"/>
                  <a:buChar char="▪"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  <a:p>
                <a:pPr marL="193675" marR="0" lvl="1" indent="-192088" algn="l" defTabSz="895350" rtl="0" eaLnBrk="1" fontAlgn="t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 typeface="Arial" charset="0"/>
                  <a:buChar char="▪"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  <a:p>
                <a:pPr marL="193675" marR="0" lvl="1" indent="-192088" algn="l" defTabSz="895350" rtl="0" eaLnBrk="1" fontAlgn="t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 typeface="Arial" charset="0"/>
                  <a:buChar char="▪"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AD4F52C5-EA24-4E03-9D94-30102DDD51BB}"/>
                </a:ext>
              </a:extLst>
            </p:cNvPr>
            <p:cNvGrpSpPr/>
            <p:nvPr/>
          </p:nvGrpSpPr>
          <p:grpSpPr>
            <a:xfrm>
              <a:off x="4241435" y="1755113"/>
              <a:ext cx="3161656" cy="4207008"/>
              <a:chOff x="4241435" y="1755113"/>
              <a:chExt cx="3161656" cy="4207008"/>
            </a:xfrm>
          </p:grpSpPr>
          <p:sp>
            <p:nvSpPr>
              <p:cNvPr id="51" name="Rectangle 25">
                <a:extLst>
                  <a:ext uri="{FF2B5EF4-FFF2-40B4-BE49-F238E27FC236}">
                    <a16:creationId xmlns:a16="http://schemas.microsoft.com/office/drawing/2014/main" id="{F910B909-65B2-409D-8823-FAB77249B90F}"/>
                  </a:ext>
                </a:extLst>
              </p:cNvPr>
              <p:cNvSpPr txBox="1"/>
              <p:nvPr/>
            </p:nvSpPr>
            <p:spPr>
              <a:xfrm>
                <a:off x="4241435" y="2862461"/>
                <a:ext cx="3095948" cy="3099660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  <p:style>
              <a:lnRef idx="2">
                <a:schemeClr val="accent4"/>
              </a:lnRef>
              <a:fillRef idx="1">
                <a:schemeClr val="lt1"/>
              </a:fillRef>
              <a:effectRef idx="0">
                <a:schemeClr val="accent4"/>
              </a:effectRef>
              <a:fontRef idx="minor">
                <a:schemeClr val="dk1"/>
              </a:fontRef>
            </p:style>
            <p:txBody>
              <a:bodyPr vert="horz" wrap="square" lIns="0" tIns="0" rIns="0" bIns="0" rtlCol="0" anchor="t" anchorCtr="0">
                <a:spAutoFit/>
              </a:bodyPr>
              <a:lstStyle>
                <a:lvl1pPr marL="0" lvl="0" indent="0" defTabSz="895350">
                  <a:buFontTx/>
                  <a:buNone/>
                  <a:defRPr sz="1600">
                    <a:latin typeface="+mn-lt"/>
                  </a:defRPr>
                </a:lvl1pPr>
                <a:lvl2pPr marL="193675" indent="-192088" defTabSz="895350">
                  <a:defRPr sz="1600">
                    <a:latin typeface="+mn-lt"/>
                  </a:defRPr>
                </a:lvl2pPr>
                <a:lvl3pPr marL="457200" indent="-261938" defTabSz="895350">
                  <a:buSzPct val="120000"/>
                  <a:buChar char="–"/>
                  <a:defRPr sz="1600">
                    <a:latin typeface="+mn-lt"/>
                  </a:defRPr>
                </a:lvl3pPr>
                <a:lvl4pPr marL="614363" indent="-155575" defTabSz="895350">
                  <a:buSzPct val="120000"/>
                  <a:buChar char="▫"/>
                  <a:defRPr sz="1600">
                    <a:latin typeface="+mn-lt"/>
                  </a:defRPr>
                </a:lvl4pPr>
                <a:lvl5pPr marL="746125" indent="-130175" defTabSz="895350">
                  <a:buSzPct val="89000"/>
                  <a:buChar char="-"/>
                  <a:defRPr sz="1600">
                    <a:latin typeface="+mn-lt"/>
                  </a:defRPr>
                </a:lvl5pPr>
                <a:lvl6pPr marL="12033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latin typeface="+mn-lt"/>
                  </a:defRPr>
                </a:lvl6pPr>
                <a:lvl7pPr marL="16605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latin typeface="+mn-lt"/>
                  </a:defRPr>
                </a:lvl7pPr>
                <a:lvl8pPr marL="21177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latin typeface="+mn-lt"/>
                  </a:defRPr>
                </a:lvl8pPr>
                <a:lvl9pPr marL="25749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latin typeface="+mn-lt"/>
                  </a:defRPr>
                </a:lvl9pPr>
              </a:lstStyle>
              <a:p>
                <a:pPr marL="287337" marR="0" lvl="1" indent="-285750" algn="l" defTabSz="895350" rtl="0" eaLnBrk="1" fontAlgn="t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Under 5 discharges from SFP who have defaulted</a:t>
                </a:r>
              </a:p>
              <a:p>
                <a:pPr marL="1587" marR="0" lvl="1" indent="0" algn="l" defTabSz="895350" rtl="0" eaLnBrk="1" fontAlgn="t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  <a:p>
                <a:pPr marL="197607" marR="0" lvl="1" indent="-195987" algn="l" defTabSz="913526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 typeface="Arial" charset="0"/>
                  <a:buChar char="▪"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Under 5 discharges from OTP who have defaulted</a:t>
                </a:r>
              </a:p>
              <a:p>
                <a:pPr marL="197607" marR="0" lvl="1" indent="-195987" algn="l" defTabSz="913526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 typeface="Arial" charset="0"/>
                  <a:buChar char="▪"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Health facilities reporting ALOS more than 2 months for OTP</a:t>
                </a:r>
              </a:p>
              <a:p>
                <a:pPr marL="1620" marR="0" lvl="1" indent="0" algn="l" defTabSz="913526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  <a:p>
                <a:pPr marL="197607" marR="0" lvl="1" indent="-195987" algn="l" defTabSz="913526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 typeface="Arial" charset="0"/>
                  <a:buChar char="▪"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 </a:t>
                </a: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Under 5 discharges from therapeutic feeding program  cured        </a:t>
                </a:r>
              </a:p>
              <a:p>
                <a:pPr marL="1620" marR="0" lvl="1" indent="0" algn="l" defTabSz="913526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Tx/>
                  <a:buNone/>
                  <a:tabLst/>
                  <a:defRPr/>
                </a:pPr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                   </a:t>
                </a:r>
              </a:p>
              <a:p>
                <a:pPr marL="197607" marR="0" lvl="1" indent="-195987" algn="l" defTabSz="913526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 typeface="Arial" charset="0"/>
                  <a:buChar char="▪"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2" name="Freeform 8">
                <a:extLst>
                  <a:ext uri="{FF2B5EF4-FFF2-40B4-BE49-F238E27FC236}">
                    <a16:creationId xmlns:a16="http://schemas.microsoft.com/office/drawing/2014/main" id="{3CBB85BA-FE1F-4922-81D3-5B148E150D0D}"/>
                  </a:ext>
                </a:extLst>
              </p:cNvPr>
              <p:cNvSpPr/>
              <p:nvPr>
                <p:custDataLst>
                  <p:tags r:id="rId3"/>
                </p:custDataLst>
              </p:nvPr>
            </p:nvSpPr>
            <p:spPr bwMode="auto">
              <a:xfrm>
                <a:off x="4308646" y="1755113"/>
                <a:ext cx="3094445" cy="700916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1 h 914400"/>
                  <a:gd name="connsiteX0" fmla="*/ 0 w 1828800"/>
                  <a:gd name="connsiteY0" fmla="*/ 0 h 914400"/>
                  <a:gd name="connsiteX1" fmla="*/ 1749399 w 1828800"/>
                  <a:gd name="connsiteY1" fmla="*/ 1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1 h 914400"/>
                  <a:gd name="connsiteX0" fmla="*/ 0 w 1828800"/>
                  <a:gd name="connsiteY0" fmla="*/ 0 h 914402"/>
                  <a:gd name="connsiteX1" fmla="*/ 1749399 w 1828800"/>
                  <a:gd name="connsiteY1" fmla="*/ 1 h 914402"/>
                  <a:gd name="connsiteX2" fmla="*/ 1828800 w 1828800"/>
                  <a:gd name="connsiteY2" fmla="*/ 457200 h 914402"/>
                  <a:gd name="connsiteX3" fmla="*/ 1749399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1 h 914402"/>
                  <a:gd name="connsiteX0" fmla="*/ 0 w 1828800"/>
                  <a:gd name="connsiteY0" fmla="*/ 0 h 914402"/>
                  <a:gd name="connsiteX1" fmla="*/ 1749399 w 1828800"/>
                  <a:gd name="connsiteY1" fmla="*/ 1 h 914402"/>
                  <a:gd name="connsiteX2" fmla="*/ 1828800 w 1828800"/>
                  <a:gd name="connsiteY2" fmla="*/ 457200 h 914402"/>
                  <a:gd name="connsiteX3" fmla="*/ 1749399 w 1828800"/>
                  <a:gd name="connsiteY3" fmla="*/ 914402 h 914402"/>
                  <a:gd name="connsiteX4" fmla="*/ 0 w 1828800"/>
                  <a:gd name="connsiteY4" fmla="*/ 914400 h 914402"/>
                  <a:gd name="connsiteX5" fmla="*/ 79401 w 1828800"/>
                  <a:gd name="connsiteY5" fmla="*/ 457202 h 914402"/>
                  <a:gd name="connsiteX0" fmla="*/ 0 w 1828800"/>
                  <a:gd name="connsiteY0" fmla="*/ 0 h 914402"/>
                  <a:gd name="connsiteX1" fmla="*/ 1749399 w 1828800"/>
                  <a:gd name="connsiteY1" fmla="*/ 0 h 914402"/>
                  <a:gd name="connsiteX2" fmla="*/ 1828800 w 1828800"/>
                  <a:gd name="connsiteY2" fmla="*/ 457200 h 914402"/>
                  <a:gd name="connsiteX3" fmla="*/ 1749399 w 1828800"/>
                  <a:gd name="connsiteY3" fmla="*/ 914402 h 914402"/>
                  <a:gd name="connsiteX4" fmla="*/ 0 w 1828800"/>
                  <a:gd name="connsiteY4" fmla="*/ 914400 h 914402"/>
                  <a:gd name="connsiteX5" fmla="*/ 79401 w 1828800"/>
                  <a:gd name="connsiteY5" fmla="*/ 457202 h 914402"/>
                  <a:gd name="connsiteX0" fmla="*/ 0 w 1828800"/>
                  <a:gd name="connsiteY0" fmla="*/ 0 h 914402"/>
                  <a:gd name="connsiteX1" fmla="*/ 1749399 w 1828800"/>
                  <a:gd name="connsiteY1" fmla="*/ 0 h 914402"/>
                  <a:gd name="connsiteX2" fmla="*/ 1828800 w 1828800"/>
                  <a:gd name="connsiteY2" fmla="*/ 457200 h 914402"/>
                  <a:gd name="connsiteX3" fmla="*/ 1749399 w 1828800"/>
                  <a:gd name="connsiteY3" fmla="*/ 914402 h 914402"/>
                  <a:gd name="connsiteX4" fmla="*/ 0 w 1828800"/>
                  <a:gd name="connsiteY4" fmla="*/ 914400 h 914402"/>
                  <a:gd name="connsiteX5" fmla="*/ 79401 w 1828800"/>
                  <a:gd name="connsiteY5" fmla="*/ 457202 h 914402"/>
                  <a:gd name="connsiteX0" fmla="*/ 0 w 1828800"/>
                  <a:gd name="connsiteY0" fmla="*/ 0 h 914402"/>
                  <a:gd name="connsiteX1" fmla="*/ 1749399 w 1828800"/>
                  <a:gd name="connsiteY1" fmla="*/ 0 h 914402"/>
                  <a:gd name="connsiteX2" fmla="*/ 1828800 w 1828800"/>
                  <a:gd name="connsiteY2" fmla="*/ 457200 h 914402"/>
                  <a:gd name="connsiteX3" fmla="*/ 1749399 w 1828800"/>
                  <a:gd name="connsiteY3" fmla="*/ 914402 h 914402"/>
                  <a:gd name="connsiteX4" fmla="*/ 0 w 1828800"/>
                  <a:gd name="connsiteY4" fmla="*/ 914400 h 914402"/>
                  <a:gd name="connsiteX5" fmla="*/ 118532 w 1828800"/>
                  <a:gd name="connsiteY5" fmla="*/ 457202 h 914402"/>
                  <a:gd name="connsiteX0" fmla="*/ 0 w 1828800"/>
                  <a:gd name="connsiteY0" fmla="*/ 0 h 914402"/>
                  <a:gd name="connsiteX1" fmla="*/ 1710267 w 1828800"/>
                  <a:gd name="connsiteY1" fmla="*/ 0 h 914402"/>
                  <a:gd name="connsiteX2" fmla="*/ 1828800 w 1828800"/>
                  <a:gd name="connsiteY2" fmla="*/ 457200 h 914402"/>
                  <a:gd name="connsiteX3" fmla="*/ 1749399 w 1828800"/>
                  <a:gd name="connsiteY3" fmla="*/ 914402 h 914402"/>
                  <a:gd name="connsiteX4" fmla="*/ 0 w 1828800"/>
                  <a:gd name="connsiteY4" fmla="*/ 914400 h 914402"/>
                  <a:gd name="connsiteX5" fmla="*/ 118532 w 1828800"/>
                  <a:gd name="connsiteY5" fmla="*/ 457202 h 914402"/>
                  <a:gd name="connsiteX0" fmla="*/ 0 w 1828800"/>
                  <a:gd name="connsiteY0" fmla="*/ 0 h 914402"/>
                  <a:gd name="connsiteX1" fmla="*/ 1710267 w 1828800"/>
                  <a:gd name="connsiteY1" fmla="*/ 0 h 914402"/>
                  <a:gd name="connsiteX2" fmla="*/ 1828800 w 1828800"/>
                  <a:gd name="connsiteY2" fmla="*/ 457200 h 914402"/>
                  <a:gd name="connsiteX3" fmla="*/ 1710267 w 1828800"/>
                  <a:gd name="connsiteY3" fmla="*/ 914402 h 914402"/>
                  <a:gd name="connsiteX4" fmla="*/ 0 w 1828800"/>
                  <a:gd name="connsiteY4" fmla="*/ 914400 h 914402"/>
                  <a:gd name="connsiteX5" fmla="*/ 118532 w 1828800"/>
                  <a:gd name="connsiteY5" fmla="*/ 457202 h 914402"/>
                  <a:gd name="connsiteX0" fmla="*/ 0 w 1828800"/>
                  <a:gd name="connsiteY0" fmla="*/ 0 h 914402"/>
                  <a:gd name="connsiteX1" fmla="*/ 1710267 w 1828800"/>
                  <a:gd name="connsiteY1" fmla="*/ 0 h 914402"/>
                  <a:gd name="connsiteX2" fmla="*/ 1828800 w 1828800"/>
                  <a:gd name="connsiteY2" fmla="*/ 457200 h 914402"/>
                  <a:gd name="connsiteX3" fmla="*/ 1710267 w 1828800"/>
                  <a:gd name="connsiteY3" fmla="*/ 914402 h 914402"/>
                  <a:gd name="connsiteX4" fmla="*/ 0 w 1828800"/>
                  <a:gd name="connsiteY4" fmla="*/ 914400 h 914402"/>
                  <a:gd name="connsiteX5" fmla="*/ 154534 w 1828800"/>
                  <a:gd name="connsiteY5" fmla="*/ 457202 h 914402"/>
                  <a:gd name="connsiteX0" fmla="*/ 0 w 1828800"/>
                  <a:gd name="connsiteY0" fmla="*/ 0 h 914402"/>
                  <a:gd name="connsiteX1" fmla="*/ 1674266 w 1828800"/>
                  <a:gd name="connsiteY1" fmla="*/ 0 h 914402"/>
                  <a:gd name="connsiteX2" fmla="*/ 1828800 w 1828800"/>
                  <a:gd name="connsiteY2" fmla="*/ 457200 h 914402"/>
                  <a:gd name="connsiteX3" fmla="*/ 1710267 w 1828800"/>
                  <a:gd name="connsiteY3" fmla="*/ 914402 h 914402"/>
                  <a:gd name="connsiteX4" fmla="*/ 0 w 1828800"/>
                  <a:gd name="connsiteY4" fmla="*/ 914400 h 914402"/>
                  <a:gd name="connsiteX5" fmla="*/ 154534 w 1828800"/>
                  <a:gd name="connsiteY5" fmla="*/ 457202 h 914402"/>
                  <a:gd name="connsiteX0" fmla="*/ 0 w 1828800"/>
                  <a:gd name="connsiteY0" fmla="*/ 0 h 914402"/>
                  <a:gd name="connsiteX1" fmla="*/ 1674266 w 1828800"/>
                  <a:gd name="connsiteY1" fmla="*/ 0 h 914402"/>
                  <a:gd name="connsiteX2" fmla="*/ 1828800 w 1828800"/>
                  <a:gd name="connsiteY2" fmla="*/ 457200 h 914402"/>
                  <a:gd name="connsiteX3" fmla="*/ 1674266 w 1828800"/>
                  <a:gd name="connsiteY3" fmla="*/ 914402 h 914402"/>
                  <a:gd name="connsiteX4" fmla="*/ 0 w 1828800"/>
                  <a:gd name="connsiteY4" fmla="*/ 914400 h 914402"/>
                  <a:gd name="connsiteX5" fmla="*/ 154534 w 1828800"/>
                  <a:gd name="connsiteY5" fmla="*/ 457202 h 914402"/>
                  <a:gd name="connsiteX0" fmla="*/ 0 w 1828800"/>
                  <a:gd name="connsiteY0" fmla="*/ 0 h 914402"/>
                  <a:gd name="connsiteX1" fmla="*/ 1674266 w 1828800"/>
                  <a:gd name="connsiteY1" fmla="*/ 0 h 914402"/>
                  <a:gd name="connsiteX2" fmla="*/ 1828800 w 1828800"/>
                  <a:gd name="connsiteY2" fmla="*/ 457200 h 914402"/>
                  <a:gd name="connsiteX3" fmla="*/ 1674266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4266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85969 w 1828800"/>
                  <a:gd name="connsiteY5" fmla="*/ 457202 h 914402"/>
                  <a:gd name="connsiteX0" fmla="*/ 0 w 1828800"/>
                  <a:gd name="connsiteY0" fmla="*/ 0 h 914402"/>
                  <a:gd name="connsiteX1" fmla="*/ 174283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85969 w 1828800"/>
                  <a:gd name="connsiteY5" fmla="*/ 457202 h 914402"/>
                  <a:gd name="connsiteX0" fmla="*/ 0 w 1828800"/>
                  <a:gd name="connsiteY0" fmla="*/ 0 h 914402"/>
                  <a:gd name="connsiteX1" fmla="*/ 1742831 w 1828800"/>
                  <a:gd name="connsiteY1" fmla="*/ 0 h 914402"/>
                  <a:gd name="connsiteX2" fmla="*/ 1828800 w 1828800"/>
                  <a:gd name="connsiteY2" fmla="*/ 457200 h 914402"/>
                  <a:gd name="connsiteX3" fmla="*/ 1742831 w 1828800"/>
                  <a:gd name="connsiteY3" fmla="*/ 914402 h 914402"/>
                  <a:gd name="connsiteX4" fmla="*/ 0 w 1828800"/>
                  <a:gd name="connsiteY4" fmla="*/ 914400 h 914402"/>
                  <a:gd name="connsiteX5" fmla="*/ 85969 w 1828800"/>
                  <a:gd name="connsiteY5" fmla="*/ 457202 h 914402"/>
                  <a:gd name="connsiteX0" fmla="*/ 0 w 1828800"/>
                  <a:gd name="connsiteY0" fmla="*/ 0 h 914402"/>
                  <a:gd name="connsiteX1" fmla="*/ 1742831 w 1828800"/>
                  <a:gd name="connsiteY1" fmla="*/ 0 h 914402"/>
                  <a:gd name="connsiteX2" fmla="*/ 1828800 w 1828800"/>
                  <a:gd name="connsiteY2" fmla="*/ 457200 h 914402"/>
                  <a:gd name="connsiteX3" fmla="*/ 174283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742831 w 1828800"/>
                  <a:gd name="connsiteY1" fmla="*/ 0 h 914402"/>
                  <a:gd name="connsiteX2" fmla="*/ 1828800 w 1828800"/>
                  <a:gd name="connsiteY2" fmla="*/ 457200 h 914402"/>
                  <a:gd name="connsiteX3" fmla="*/ 174283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742831 w 1828800"/>
                  <a:gd name="connsiteY1" fmla="*/ 0 h 914402"/>
                  <a:gd name="connsiteX2" fmla="*/ 1828800 w 1828800"/>
                  <a:gd name="connsiteY2" fmla="*/ 457200 h 914402"/>
                  <a:gd name="connsiteX3" fmla="*/ 174283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742831 w 1828800"/>
                  <a:gd name="connsiteY1" fmla="*/ 0 h 914402"/>
                  <a:gd name="connsiteX2" fmla="*/ 1828800 w 1828800"/>
                  <a:gd name="connsiteY2" fmla="*/ 457200 h 914402"/>
                  <a:gd name="connsiteX3" fmla="*/ 1742831 w 1828800"/>
                  <a:gd name="connsiteY3" fmla="*/ 914402 h 914402"/>
                  <a:gd name="connsiteX4" fmla="*/ 0 w 1828800"/>
                  <a:gd name="connsiteY4" fmla="*/ 914400 h 914402"/>
                  <a:gd name="connsiteX5" fmla="*/ 85969 w 1828800"/>
                  <a:gd name="connsiteY5" fmla="*/ 457202 h 914402"/>
                  <a:gd name="connsiteX0" fmla="*/ 0 w 1828800"/>
                  <a:gd name="connsiteY0" fmla="*/ 0 h 914402"/>
                  <a:gd name="connsiteX1" fmla="*/ 1742831 w 1828800"/>
                  <a:gd name="connsiteY1" fmla="*/ 0 h 914402"/>
                  <a:gd name="connsiteX2" fmla="*/ 1828800 w 1828800"/>
                  <a:gd name="connsiteY2" fmla="*/ 457200 h 914402"/>
                  <a:gd name="connsiteX3" fmla="*/ 1742831 w 1828800"/>
                  <a:gd name="connsiteY3" fmla="*/ 914402 h 914402"/>
                  <a:gd name="connsiteX4" fmla="*/ 0 w 1828800"/>
                  <a:gd name="connsiteY4" fmla="*/ 914400 h 914402"/>
                  <a:gd name="connsiteX5" fmla="*/ 85969 w 1828800"/>
                  <a:gd name="connsiteY5" fmla="*/ 457202 h 914402"/>
                  <a:gd name="connsiteX0" fmla="*/ 0 w 1828800"/>
                  <a:gd name="connsiteY0" fmla="*/ 0 h 914402"/>
                  <a:gd name="connsiteX1" fmla="*/ 1742831 w 1828800"/>
                  <a:gd name="connsiteY1" fmla="*/ 0 h 914402"/>
                  <a:gd name="connsiteX2" fmla="*/ 1828800 w 1828800"/>
                  <a:gd name="connsiteY2" fmla="*/ 457200 h 914402"/>
                  <a:gd name="connsiteX3" fmla="*/ 1742831 w 1828800"/>
                  <a:gd name="connsiteY3" fmla="*/ 914402 h 914402"/>
                  <a:gd name="connsiteX4" fmla="*/ 0 w 1828800"/>
                  <a:gd name="connsiteY4" fmla="*/ 914400 h 914402"/>
                  <a:gd name="connsiteX5" fmla="*/ 85969 w 1828800"/>
                  <a:gd name="connsiteY5" fmla="*/ 457202 h 914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2">
                    <a:moveTo>
                      <a:pt x="0" y="0"/>
                    </a:moveTo>
                    <a:lnTo>
                      <a:pt x="1742831" y="0"/>
                    </a:lnTo>
                    <a:lnTo>
                      <a:pt x="1828800" y="457200"/>
                    </a:lnTo>
                    <a:lnTo>
                      <a:pt x="1742831" y="914402"/>
                    </a:lnTo>
                    <a:lnTo>
                      <a:pt x="0" y="914400"/>
                    </a:lnTo>
                    <a:lnTo>
                      <a:pt x="85969" y="457202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  <a:headEnd/>
                <a:tailEnd/>
              </a:ln>
            </p:spPr>
            <p:style>
              <a:lnRef idx="2">
                <a:schemeClr val="accent4"/>
              </a:lnRef>
              <a:fillRef idx="1">
                <a:schemeClr val="lt1"/>
              </a:fillRef>
              <a:effectRef idx="0">
                <a:schemeClr val="accent4"/>
              </a:effectRef>
              <a:fontRef idx="minor">
                <a:schemeClr val="dk1"/>
              </a:fontRef>
            </p:style>
            <p:txBody>
              <a:bodyPr lIns="70613" tIns="70613" rIns="70613" bIns="70613" anchor="ctr">
                <a:noAutofit/>
              </a:bodyPr>
              <a:lstStyle/>
              <a:p>
                <a:pPr marL="0" marR="0" lvl="0" indent="0" algn="l" defTabSz="879881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 typeface="Arial" charset="0"/>
                  <a:buChar char="▪"/>
                  <a:tabLst/>
                  <a:defRPr/>
                </a:pPr>
                <a:endPara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53" name="TextBox 4">
                <a:extLst>
                  <a:ext uri="{FF2B5EF4-FFF2-40B4-BE49-F238E27FC236}">
                    <a16:creationId xmlns:a16="http://schemas.microsoft.com/office/drawing/2014/main" id="{17243221-3220-4788-8E26-7A48065CE7FE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4603404" y="1976388"/>
                <a:ext cx="2442408" cy="21230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marL="0" indent="0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193675" indent="-192088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600">
                    <a:solidFill>
                      <a:schemeClr val="tx1"/>
                    </a:solidFill>
                    <a:latin typeface="+mn-lt"/>
                  </a:defRPr>
                </a:lvl2pPr>
                <a:lvl3pPr marL="457200" indent="-261938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600">
                    <a:solidFill>
                      <a:schemeClr val="tx1"/>
                    </a:solidFill>
                    <a:latin typeface="+mn-lt"/>
                  </a:defRPr>
                </a:lvl3pPr>
                <a:lvl4pPr marL="614363" indent="-1555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600">
                    <a:solidFill>
                      <a:schemeClr val="tx1"/>
                    </a:solidFill>
                    <a:latin typeface="+mn-lt"/>
                  </a:defRPr>
                </a:lvl4pPr>
                <a:lvl5pPr marL="746125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5pPr>
                <a:lvl6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6pPr>
                <a:lvl7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7pPr>
                <a:lvl8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8pPr>
                <a:lvl9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marR="0" lvl="0" indent="0" algn="l" defTabSz="89535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Tx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MAM and Emergencies</a:t>
                </a:r>
              </a:p>
            </p:txBody>
          </p: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DBC55E9E-2641-4917-9614-A4AB64A99E42}"/>
                </a:ext>
              </a:extLst>
            </p:cNvPr>
            <p:cNvGrpSpPr/>
            <p:nvPr/>
          </p:nvGrpSpPr>
          <p:grpSpPr>
            <a:xfrm>
              <a:off x="7882537" y="1733073"/>
              <a:ext cx="3365259" cy="4458602"/>
              <a:chOff x="7882537" y="1733073"/>
              <a:chExt cx="3365259" cy="4458602"/>
            </a:xfrm>
          </p:grpSpPr>
          <p:sp>
            <p:nvSpPr>
              <p:cNvPr id="43" name="Freeform 14">
                <a:extLst>
                  <a:ext uri="{FF2B5EF4-FFF2-40B4-BE49-F238E27FC236}">
                    <a16:creationId xmlns:a16="http://schemas.microsoft.com/office/drawing/2014/main" id="{7F782C2A-7CFF-4E61-B91F-5E1BB426C976}"/>
                  </a:ext>
                </a:extLst>
              </p:cNvPr>
              <p:cNvSpPr/>
              <p:nvPr>
                <p:custDataLst>
                  <p:tags r:id="rId1"/>
                </p:custDataLst>
              </p:nvPr>
            </p:nvSpPr>
            <p:spPr bwMode="auto">
              <a:xfrm>
                <a:off x="7882537" y="1733073"/>
                <a:ext cx="3365258" cy="700916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1 h 914400"/>
                  <a:gd name="connsiteX0" fmla="*/ 0 w 1828800"/>
                  <a:gd name="connsiteY0" fmla="*/ 0 h 914400"/>
                  <a:gd name="connsiteX1" fmla="*/ 1749399 w 1828800"/>
                  <a:gd name="connsiteY1" fmla="*/ 1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1 h 914400"/>
                  <a:gd name="connsiteX0" fmla="*/ 0 w 1828800"/>
                  <a:gd name="connsiteY0" fmla="*/ 0 h 914402"/>
                  <a:gd name="connsiteX1" fmla="*/ 1749399 w 1828800"/>
                  <a:gd name="connsiteY1" fmla="*/ 1 h 914402"/>
                  <a:gd name="connsiteX2" fmla="*/ 1828800 w 1828800"/>
                  <a:gd name="connsiteY2" fmla="*/ 457200 h 914402"/>
                  <a:gd name="connsiteX3" fmla="*/ 1749399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1 h 914402"/>
                  <a:gd name="connsiteX0" fmla="*/ 0 w 1828800"/>
                  <a:gd name="connsiteY0" fmla="*/ 0 h 914402"/>
                  <a:gd name="connsiteX1" fmla="*/ 1749399 w 1828800"/>
                  <a:gd name="connsiteY1" fmla="*/ 1 h 914402"/>
                  <a:gd name="connsiteX2" fmla="*/ 1828800 w 1828800"/>
                  <a:gd name="connsiteY2" fmla="*/ 457200 h 914402"/>
                  <a:gd name="connsiteX3" fmla="*/ 1749399 w 1828800"/>
                  <a:gd name="connsiteY3" fmla="*/ 914402 h 914402"/>
                  <a:gd name="connsiteX4" fmla="*/ 0 w 1828800"/>
                  <a:gd name="connsiteY4" fmla="*/ 914400 h 914402"/>
                  <a:gd name="connsiteX5" fmla="*/ 79401 w 1828800"/>
                  <a:gd name="connsiteY5" fmla="*/ 457202 h 914402"/>
                  <a:gd name="connsiteX0" fmla="*/ 0 w 1828800"/>
                  <a:gd name="connsiteY0" fmla="*/ 0 h 914402"/>
                  <a:gd name="connsiteX1" fmla="*/ 1749399 w 1828800"/>
                  <a:gd name="connsiteY1" fmla="*/ 0 h 914402"/>
                  <a:gd name="connsiteX2" fmla="*/ 1828800 w 1828800"/>
                  <a:gd name="connsiteY2" fmla="*/ 457200 h 914402"/>
                  <a:gd name="connsiteX3" fmla="*/ 1749399 w 1828800"/>
                  <a:gd name="connsiteY3" fmla="*/ 914402 h 914402"/>
                  <a:gd name="connsiteX4" fmla="*/ 0 w 1828800"/>
                  <a:gd name="connsiteY4" fmla="*/ 914400 h 914402"/>
                  <a:gd name="connsiteX5" fmla="*/ 79401 w 1828800"/>
                  <a:gd name="connsiteY5" fmla="*/ 457202 h 914402"/>
                  <a:gd name="connsiteX0" fmla="*/ 0 w 1828800"/>
                  <a:gd name="connsiteY0" fmla="*/ 0 h 914402"/>
                  <a:gd name="connsiteX1" fmla="*/ 1749399 w 1828800"/>
                  <a:gd name="connsiteY1" fmla="*/ 0 h 914402"/>
                  <a:gd name="connsiteX2" fmla="*/ 1828800 w 1828800"/>
                  <a:gd name="connsiteY2" fmla="*/ 457200 h 914402"/>
                  <a:gd name="connsiteX3" fmla="*/ 1749399 w 1828800"/>
                  <a:gd name="connsiteY3" fmla="*/ 914402 h 914402"/>
                  <a:gd name="connsiteX4" fmla="*/ 0 w 1828800"/>
                  <a:gd name="connsiteY4" fmla="*/ 914400 h 914402"/>
                  <a:gd name="connsiteX5" fmla="*/ 79401 w 1828800"/>
                  <a:gd name="connsiteY5" fmla="*/ 457202 h 914402"/>
                  <a:gd name="connsiteX0" fmla="*/ 0 w 1828800"/>
                  <a:gd name="connsiteY0" fmla="*/ 0 h 914402"/>
                  <a:gd name="connsiteX1" fmla="*/ 1749399 w 1828800"/>
                  <a:gd name="connsiteY1" fmla="*/ 0 h 914402"/>
                  <a:gd name="connsiteX2" fmla="*/ 1828800 w 1828800"/>
                  <a:gd name="connsiteY2" fmla="*/ 457200 h 914402"/>
                  <a:gd name="connsiteX3" fmla="*/ 1749399 w 1828800"/>
                  <a:gd name="connsiteY3" fmla="*/ 914402 h 914402"/>
                  <a:gd name="connsiteX4" fmla="*/ 0 w 1828800"/>
                  <a:gd name="connsiteY4" fmla="*/ 914400 h 914402"/>
                  <a:gd name="connsiteX5" fmla="*/ 118532 w 1828800"/>
                  <a:gd name="connsiteY5" fmla="*/ 457202 h 914402"/>
                  <a:gd name="connsiteX0" fmla="*/ 0 w 1828800"/>
                  <a:gd name="connsiteY0" fmla="*/ 0 h 914402"/>
                  <a:gd name="connsiteX1" fmla="*/ 1710268 w 1828800"/>
                  <a:gd name="connsiteY1" fmla="*/ 0 h 914402"/>
                  <a:gd name="connsiteX2" fmla="*/ 1828800 w 1828800"/>
                  <a:gd name="connsiteY2" fmla="*/ 457200 h 914402"/>
                  <a:gd name="connsiteX3" fmla="*/ 1749399 w 1828800"/>
                  <a:gd name="connsiteY3" fmla="*/ 914402 h 914402"/>
                  <a:gd name="connsiteX4" fmla="*/ 0 w 1828800"/>
                  <a:gd name="connsiteY4" fmla="*/ 914400 h 914402"/>
                  <a:gd name="connsiteX5" fmla="*/ 118532 w 1828800"/>
                  <a:gd name="connsiteY5" fmla="*/ 457202 h 914402"/>
                  <a:gd name="connsiteX0" fmla="*/ 0 w 1828800"/>
                  <a:gd name="connsiteY0" fmla="*/ 0 h 914402"/>
                  <a:gd name="connsiteX1" fmla="*/ 1710268 w 1828800"/>
                  <a:gd name="connsiteY1" fmla="*/ 0 h 914402"/>
                  <a:gd name="connsiteX2" fmla="*/ 1828800 w 1828800"/>
                  <a:gd name="connsiteY2" fmla="*/ 457200 h 914402"/>
                  <a:gd name="connsiteX3" fmla="*/ 1710268 w 1828800"/>
                  <a:gd name="connsiteY3" fmla="*/ 914402 h 914402"/>
                  <a:gd name="connsiteX4" fmla="*/ 0 w 1828800"/>
                  <a:gd name="connsiteY4" fmla="*/ 914400 h 914402"/>
                  <a:gd name="connsiteX5" fmla="*/ 118532 w 1828800"/>
                  <a:gd name="connsiteY5" fmla="*/ 457202 h 914402"/>
                  <a:gd name="connsiteX0" fmla="*/ 0 w 1828800"/>
                  <a:gd name="connsiteY0" fmla="*/ 0 h 914402"/>
                  <a:gd name="connsiteX1" fmla="*/ 1710268 w 1828800"/>
                  <a:gd name="connsiteY1" fmla="*/ 0 h 914402"/>
                  <a:gd name="connsiteX2" fmla="*/ 1828800 w 1828800"/>
                  <a:gd name="connsiteY2" fmla="*/ 457200 h 914402"/>
                  <a:gd name="connsiteX3" fmla="*/ 1710268 w 1828800"/>
                  <a:gd name="connsiteY3" fmla="*/ 914402 h 914402"/>
                  <a:gd name="connsiteX4" fmla="*/ 0 w 1828800"/>
                  <a:gd name="connsiteY4" fmla="*/ 914400 h 914402"/>
                  <a:gd name="connsiteX5" fmla="*/ 154534 w 1828800"/>
                  <a:gd name="connsiteY5" fmla="*/ 457202 h 914402"/>
                  <a:gd name="connsiteX0" fmla="*/ 0 w 1828800"/>
                  <a:gd name="connsiteY0" fmla="*/ 0 h 914402"/>
                  <a:gd name="connsiteX1" fmla="*/ 1674266 w 1828800"/>
                  <a:gd name="connsiteY1" fmla="*/ 0 h 914402"/>
                  <a:gd name="connsiteX2" fmla="*/ 1828800 w 1828800"/>
                  <a:gd name="connsiteY2" fmla="*/ 457200 h 914402"/>
                  <a:gd name="connsiteX3" fmla="*/ 1710268 w 1828800"/>
                  <a:gd name="connsiteY3" fmla="*/ 914402 h 914402"/>
                  <a:gd name="connsiteX4" fmla="*/ 0 w 1828800"/>
                  <a:gd name="connsiteY4" fmla="*/ 914400 h 914402"/>
                  <a:gd name="connsiteX5" fmla="*/ 154534 w 1828800"/>
                  <a:gd name="connsiteY5" fmla="*/ 457202 h 914402"/>
                  <a:gd name="connsiteX0" fmla="*/ 0 w 1828800"/>
                  <a:gd name="connsiteY0" fmla="*/ 0 h 914402"/>
                  <a:gd name="connsiteX1" fmla="*/ 1674266 w 1828800"/>
                  <a:gd name="connsiteY1" fmla="*/ 0 h 914402"/>
                  <a:gd name="connsiteX2" fmla="*/ 1828800 w 1828800"/>
                  <a:gd name="connsiteY2" fmla="*/ 457200 h 914402"/>
                  <a:gd name="connsiteX3" fmla="*/ 1674266 w 1828800"/>
                  <a:gd name="connsiteY3" fmla="*/ 914402 h 914402"/>
                  <a:gd name="connsiteX4" fmla="*/ 0 w 1828800"/>
                  <a:gd name="connsiteY4" fmla="*/ 914400 h 914402"/>
                  <a:gd name="connsiteX5" fmla="*/ 154534 w 1828800"/>
                  <a:gd name="connsiteY5" fmla="*/ 457202 h 914402"/>
                  <a:gd name="connsiteX0" fmla="*/ 0 w 1828800"/>
                  <a:gd name="connsiteY0" fmla="*/ 0 h 914402"/>
                  <a:gd name="connsiteX1" fmla="*/ 1674266 w 1828800"/>
                  <a:gd name="connsiteY1" fmla="*/ 0 h 914402"/>
                  <a:gd name="connsiteX2" fmla="*/ 1828800 w 1828800"/>
                  <a:gd name="connsiteY2" fmla="*/ 457200 h 914402"/>
                  <a:gd name="connsiteX3" fmla="*/ 1674266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4266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85969 w 1828800"/>
                  <a:gd name="connsiteY5" fmla="*/ 457202 h 914402"/>
                  <a:gd name="connsiteX0" fmla="*/ 0 w 1828800"/>
                  <a:gd name="connsiteY0" fmla="*/ 0 h 914402"/>
                  <a:gd name="connsiteX1" fmla="*/ 174283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85969 w 1828800"/>
                  <a:gd name="connsiteY5" fmla="*/ 457202 h 914402"/>
                  <a:gd name="connsiteX0" fmla="*/ 0 w 1828800"/>
                  <a:gd name="connsiteY0" fmla="*/ 0 h 914402"/>
                  <a:gd name="connsiteX1" fmla="*/ 1742831 w 1828800"/>
                  <a:gd name="connsiteY1" fmla="*/ 0 h 914402"/>
                  <a:gd name="connsiteX2" fmla="*/ 1828800 w 1828800"/>
                  <a:gd name="connsiteY2" fmla="*/ 457200 h 914402"/>
                  <a:gd name="connsiteX3" fmla="*/ 1742831 w 1828800"/>
                  <a:gd name="connsiteY3" fmla="*/ 914402 h 914402"/>
                  <a:gd name="connsiteX4" fmla="*/ 0 w 1828800"/>
                  <a:gd name="connsiteY4" fmla="*/ 914400 h 914402"/>
                  <a:gd name="connsiteX5" fmla="*/ 85969 w 1828800"/>
                  <a:gd name="connsiteY5" fmla="*/ 457202 h 914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2">
                    <a:moveTo>
                      <a:pt x="0" y="0"/>
                    </a:moveTo>
                    <a:lnTo>
                      <a:pt x="1742831" y="0"/>
                    </a:lnTo>
                    <a:lnTo>
                      <a:pt x="1828800" y="457200"/>
                    </a:lnTo>
                    <a:lnTo>
                      <a:pt x="1742831" y="914402"/>
                    </a:lnTo>
                    <a:lnTo>
                      <a:pt x="0" y="914400"/>
                    </a:lnTo>
                    <a:lnTo>
                      <a:pt x="85969" y="457202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  <a:headEnd/>
                <a:tailEnd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70613" tIns="70613" rIns="70613" bIns="70613" anchor="ctr">
                <a:noAutofit/>
              </a:bodyPr>
              <a:lstStyle/>
              <a:p>
                <a:pPr marL="0" marR="0" lvl="0" indent="0" algn="l" defTabSz="879881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 typeface="Arial" charset="0"/>
                  <a:buChar char="▪"/>
                  <a:tabLst/>
                  <a:defRPr/>
                </a:pPr>
                <a:endPara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296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44" name="TextBox 4">
                <a:extLst>
                  <a:ext uri="{FF2B5EF4-FFF2-40B4-BE49-F238E27FC236}">
                    <a16:creationId xmlns:a16="http://schemas.microsoft.com/office/drawing/2014/main" id="{3553563F-1439-4065-9470-7F07E51C5FAD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8101067" y="1961580"/>
                <a:ext cx="3101685" cy="21230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marL="0" indent="0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193675" indent="-192088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600">
                    <a:solidFill>
                      <a:schemeClr val="tx1"/>
                    </a:solidFill>
                    <a:latin typeface="+mn-lt"/>
                  </a:defRPr>
                </a:lvl2pPr>
                <a:lvl3pPr marL="457200" indent="-261938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600">
                    <a:solidFill>
                      <a:schemeClr val="tx1"/>
                    </a:solidFill>
                    <a:latin typeface="+mn-lt"/>
                  </a:defRPr>
                </a:lvl3pPr>
                <a:lvl4pPr marL="614363" indent="-1555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600">
                    <a:solidFill>
                      <a:schemeClr val="tx1"/>
                    </a:solidFill>
                    <a:latin typeface="+mn-lt"/>
                  </a:defRPr>
                </a:lvl4pPr>
                <a:lvl5pPr marL="746125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5pPr>
                <a:lvl6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6pPr>
                <a:lvl7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7pPr>
                <a:lvl8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8pPr>
                <a:lvl9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marR="0" lvl="0" indent="0" algn="l" defTabSz="89535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Tx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Micronutrient supplementation</a:t>
                </a:r>
              </a:p>
            </p:txBody>
          </p:sp>
          <p:sp>
            <p:nvSpPr>
              <p:cNvPr id="46" name="Rectangle 25">
                <a:extLst>
                  <a:ext uri="{FF2B5EF4-FFF2-40B4-BE49-F238E27FC236}">
                    <a16:creationId xmlns:a16="http://schemas.microsoft.com/office/drawing/2014/main" id="{CB0BC604-FB79-4A72-A4FD-AB9A42F43412}"/>
                  </a:ext>
                </a:extLst>
              </p:cNvPr>
              <p:cNvSpPr txBox="1"/>
              <p:nvPr/>
            </p:nvSpPr>
            <p:spPr>
              <a:xfrm>
                <a:off x="7882537" y="2845210"/>
                <a:ext cx="3365259" cy="3346465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horz" wrap="square" lIns="0" tIns="0" rIns="0" bIns="0" rtlCol="0" anchor="t" anchorCtr="0">
                <a:spAutoFit/>
              </a:bodyPr>
              <a:lstStyle>
                <a:lvl1pPr marL="0" lvl="0" indent="0" defTabSz="895350">
                  <a:buFontTx/>
                  <a:buNone/>
                  <a:defRPr sz="1600">
                    <a:latin typeface="+mn-lt"/>
                  </a:defRPr>
                </a:lvl1pPr>
                <a:lvl2pPr marL="193675" indent="-192088" defTabSz="895350">
                  <a:defRPr sz="1600">
                    <a:latin typeface="+mn-lt"/>
                  </a:defRPr>
                </a:lvl2pPr>
                <a:lvl3pPr marL="457200" indent="-261938" defTabSz="895350">
                  <a:buSzPct val="120000"/>
                  <a:buChar char="–"/>
                  <a:defRPr sz="1600">
                    <a:latin typeface="+mn-lt"/>
                  </a:defRPr>
                </a:lvl3pPr>
                <a:lvl4pPr marL="614363" indent="-155575" defTabSz="895350">
                  <a:buSzPct val="120000"/>
                  <a:buChar char="▫"/>
                  <a:defRPr sz="1600">
                    <a:latin typeface="+mn-lt"/>
                  </a:defRPr>
                </a:lvl4pPr>
                <a:lvl5pPr marL="746125" indent="-130175" defTabSz="895350">
                  <a:buSzPct val="89000"/>
                  <a:buChar char="-"/>
                  <a:defRPr sz="1600">
                    <a:latin typeface="+mn-lt"/>
                  </a:defRPr>
                </a:lvl5pPr>
                <a:lvl6pPr marL="12033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latin typeface="+mn-lt"/>
                  </a:defRPr>
                </a:lvl6pPr>
                <a:lvl7pPr marL="16605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latin typeface="+mn-lt"/>
                  </a:defRPr>
                </a:lvl7pPr>
                <a:lvl8pPr marL="21177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latin typeface="+mn-lt"/>
                  </a:defRPr>
                </a:lvl8pPr>
                <a:lvl9pPr marL="25749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latin typeface="+mn-lt"/>
                  </a:defRPr>
                </a:lvl9pPr>
              </a:lstStyle>
              <a:p>
                <a:pPr marL="1620" marR="0" lvl="1" indent="0" algn="l" defTabSz="913526" rtl="0" eaLnBrk="0" fontAlgn="base" latinLnBrk="0" hangingPunct="0">
                  <a:lnSpc>
                    <a:spcPct val="100000"/>
                  </a:lnSpc>
                  <a:spcBef>
                    <a:spcPct val="3000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Tx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  <a:p>
                <a:pPr marL="193675" marR="0" lvl="1" indent="-192088" algn="l" defTabSz="895350" rtl="0" eaLnBrk="1" fontAlgn="t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 typeface="Arial" charset="0"/>
                  <a:buChar char="▪"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% of children aged 12-59 months who received two doses of vitamin A supplement within one year</a:t>
                </a: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  <a:p>
                <a:pPr marL="193675" marR="0" lvl="1" indent="-192088" algn="l" defTabSz="895350" rtl="0" eaLnBrk="1" fontAlgn="t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 typeface="Arial" charset="0"/>
                  <a:buChar char="▪"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% of Children aged 6-59 months who received two doses of Vitamin A</a:t>
                </a:r>
              </a:p>
              <a:p>
                <a:pPr marL="193675" marR="0" lvl="1" indent="-192088" algn="l" defTabSz="895350" rtl="0" eaLnBrk="1" fontAlgn="t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 typeface="Arial" charset="0"/>
                  <a:buChar char="▪"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Proportion of pregnant women who take IFAS for at least 90 days</a:t>
                </a: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  <a:p>
                <a:pPr marL="193675" marR="0" lvl="1" indent="-192088" algn="l" defTabSz="895350" rtl="0" eaLnBrk="1" fontAlgn="t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 typeface="Arial" charset="0"/>
                  <a:buChar char="▪"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  <a:p>
                <a:pPr marL="1620" marR="0" lvl="1" indent="0" algn="l" defTabSz="913526" rtl="0" eaLnBrk="0" fontAlgn="base" latinLnBrk="0" hangingPunct="0">
                  <a:lnSpc>
                    <a:spcPct val="100000"/>
                  </a:lnSpc>
                  <a:spcBef>
                    <a:spcPct val="3000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Tx/>
                  <a:buNone/>
                  <a:tabLst/>
                  <a:defRPr/>
                </a:pPr>
                <a:endParaRPr kumimoji="0" lang="en-US" sz="7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  <a:p>
                <a:pPr marL="1620" marR="0" lvl="1" indent="0" algn="l" defTabSz="913526" rtl="0" eaLnBrk="0" fontAlgn="base" latinLnBrk="0" hangingPunct="0">
                  <a:lnSpc>
                    <a:spcPct val="100000"/>
                  </a:lnSpc>
                  <a:spcBef>
                    <a:spcPct val="3000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Tx/>
                  <a:buNone/>
                  <a:tabLst/>
                  <a:defRPr/>
                </a:pPr>
                <a:endParaRPr kumimoji="0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  <a:p>
                <a:pPr marL="1620" marR="0" lvl="1" indent="0" algn="l" defTabSz="913526" rtl="0" eaLnBrk="0" fontAlgn="base" latinLnBrk="0" hangingPunct="0">
                  <a:lnSpc>
                    <a:spcPct val="100000"/>
                  </a:lnSpc>
                  <a:spcBef>
                    <a:spcPct val="3000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Tx/>
                  <a:buNone/>
                  <a:tabLst/>
                  <a:defRPr/>
                </a:pPr>
                <a:endParaRPr kumimoji="0" lang="en-US" sz="7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  <a:p>
                <a:pPr marL="1620" marR="0" lvl="1" indent="0" algn="l" defTabSz="913526" rtl="0" eaLnBrk="0" fontAlgn="base" latinLnBrk="0" hangingPunct="0">
                  <a:lnSpc>
                    <a:spcPct val="100000"/>
                  </a:lnSpc>
                  <a:spcBef>
                    <a:spcPct val="3000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05680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897A980C-8F3A-4920-9BD6-38237371C947}"/>
              </a:ext>
            </a:extLst>
          </p:cNvPr>
          <p:cNvGrpSpPr/>
          <p:nvPr/>
        </p:nvGrpSpPr>
        <p:grpSpPr>
          <a:xfrm>
            <a:off x="742625" y="1601477"/>
            <a:ext cx="10884310" cy="3427629"/>
            <a:chOff x="661312" y="1733073"/>
            <a:chExt cx="10613370" cy="2955492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4D30A6A7-B00A-4DAE-BD82-A571F204D635}"/>
                </a:ext>
              </a:extLst>
            </p:cNvPr>
            <p:cNvGrpSpPr/>
            <p:nvPr/>
          </p:nvGrpSpPr>
          <p:grpSpPr>
            <a:xfrm>
              <a:off x="661312" y="1755113"/>
              <a:ext cx="3182231" cy="1858977"/>
              <a:chOff x="661312" y="1755113"/>
              <a:chExt cx="3182231" cy="1858977"/>
            </a:xfrm>
          </p:grpSpPr>
          <p:sp>
            <p:nvSpPr>
              <p:cNvPr id="16" name="Freeform 11">
                <a:extLst>
                  <a:ext uri="{FF2B5EF4-FFF2-40B4-BE49-F238E27FC236}">
                    <a16:creationId xmlns:a16="http://schemas.microsoft.com/office/drawing/2014/main" id="{C4D63B43-DA43-46A7-B717-ED83A0E237DF}"/>
                  </a:ext>
                </a:extLst>
              </p:cNvPr>
              <p:cNvSpPr/>
              <p:nvPr>
                <p:custDataLst>
                  <p:tags r:id="rId4"/>
                </p:custDataLst>
              </p:nvPr>
            </p:nvSpPr>
            <p:spPr bwMode="auto">
              <a:xfrm>
                <a:off x="661312" y="1755113"/>
                <a:ext cx="3182231" cy="700916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1 h 914400"/>
                  <a:gd name="connsiteX0" fmla="*/ 0 w 1828800"/>
                  <a:gd name="connsiteY0" fmla="*/ 0 h 914400"/>
                  <a:gd name="connsiteX1" fmla="*/ 1749399 w 1828800"/>
                  <a:gd name="connsiteY1" fmla="*/ 1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1 h 914400"/>
                  <a:gd name="connsiteX0" fmla="*/ 0 w 1828800"/>
                  <a:gd name="connsiteY0" fmla="*/ 0 h 914402"/>
                  <a:gd name="connsiteX1" fmla="*/ 1749399 w 1828800"/>
                  <a:gd name="connsiteY1" fmla="*/ 1 h 914402"/>
                  <a:gd name="connsiteX2" fmla="*/ 1828800 w 1828800"/>
                  <a:gd name="connsiteY2" fmla="*/ 457200 h 914402"/>
                  <a:gd name="connsiteX3" fmla="*/ 1749399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1 h 914402"/>
                  <a:gd name="connsiteX0" fmla="*/ 0 w 1828800"/>
                  <a:gd name="connsiteY0" fmla="*/ 0 h 914402"/>
                  <a:gd name="connsiteX1" fmla="*/ 1749399 w 1828800"/>
                  <a:gd name="connsiteY1" fmla="*/ 1 h 914402"/>
                  <a:gd name="connsiteX2" fmla="*/ 1828800 w 1828800"/>
                  <a:gd name="connsiteY2" fmla="*/ 457200 h 914402"/>
                  <a:gd name="connsiteX3" fmla="*/ 1749399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710268 w 1828800"/>
                  <a:gd name="connsiteY1" fmla="*/ 0 h 914402"/>
                  <a:gd name="connsiteX2" fmla="*/ 1828800 w 1828800"/>
                  <a:gd name="connsiteY2" fmla="*/ 457200 h 914402"/>
                  <a:gd name="connsiteX3" fmla="*/ 1749399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710268 w 1828800"/>
                  <a:gd name="connsiteY1" fmla="*/ 0 h 914402"/>
                  <a:gd name="connsiteX2" fmla="*/ 1828800 w 1828800"/>
                  <a:gd name="connsiteY2" fmla="*/ 457200 h 914402"/>
                  <a:gd name="connsiteX3" fmla="*/ 1710268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710268 w 1828800"/>
                  <a:gd name="connsiteY1" fmla="*/ 0 h 914402"/>
                  <a:gd name="connsiteX2" fmla="*/ 1828800 w 1828800"/>
                  <a:gd name="connsiteY2" fmla="*/ 457200 h 914402"/>
                  <a:gd name="connsiteX3" fmla="*/ 1710268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4266 w 1828800"/>
                  <a:gd name="connsiteY1" fmla="*/ 0 h 914402"/>
                  <a:gd name="connsiteX2" fmla="*/ 1828800 w 1828800"/>
                  <a:gd name="connsiteY2" fmla="*/ 457200 h 914402"/>
                  <a:gd name="connsiteX3" fmla="*/ 1710268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4266 w 1828800"/>
                  <a:gd name="connsiteY1" fmla="*/ 0 h 914402"/>
                  <a:gd name="connsiteX2" fmla="*/ 1828800 w 1828800"/>
                  <a:gd name="connsiteY2" fmla="*/ 457200 h 914402"/>
                  <a:gd name="connsiteX3" fmla="*/ 1674266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4266 w 1828800"/>
                  <a:gd name="connsiteY1" fmla="*/ 0 h 914402"/>
                  <a:gd name="connsiteX2" fmla="*/ 1828800 w 1828800"/>
                  <a:gd name="connsiteY2" fmla="*/ 457200 h 914402"/>
                  <a:gd name="connsiteX3" fmla="*/ 1674266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4266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43664"/>
                  <a:gd name="connsiteY0" fmla="*/ 0 h 914402"/>
                  <a:gd name="connsiteX1" fmla="*/ 1843664 w 1843664"/>
                  <a:gd name="connsiteY1" fmla="*/ 0 h 914402"/>
                  <a:gd name="connsiteX2" fmla="*/ 1828800 w 1843664"/>
                  <a:gd name="connsiteY2" fmla="*/ 457200 h 914402"/>
                  <a:gd name="connsiteX3" fmla="*/ 1676501 w 1843664"/>
                  <a:gd name="connsiteY3" fmla="*/ 914402 h 914402"/>
                  <a:gd name="connsiteX4" fmla="*/ 0 w 1843664"/>
                  <a:gd name="connsiteY4" fmla="*/ 914400 h 914402"/>
                  <a:gd name="connsiteX5" fmla="*/ 0 w 1843664"/>
                  <a:gd name="connsiteY5" fmla="*/ 457202 h 914402"/>
                  <a:gd name="connsiteX0" fmla="*/ 0 w 1843664"/>
                  <a:gd name="connsiteY0" fmla="*/ 0 h 914402"/>
                  <a:gd name="connsiteX1" fmla="*/ 1843664 w 1843664"/>
                  <a:gd name="connsiteY1" fmla="*/ 0 h 914402"/>
                  <a:gd name="connsiteX2" fmla="*/ 1828800 w 1843664"/>
                  <a:gd name="connsiteY2" fmla="*/ 457200 h 914402"/>
                  <a:gd name="connsiteX3" fmla="*/ 1843663 w 1843664"/>
                  <a:gd name="connsiteY3" fmla="*/ 914402 h 914402"/>
                  <a:gd name="connsiteX4" fmla="*/ 0 w 1843664"/>
                  <a:gd name="connsiteY4" fmla="*/ 914400 h 914402"/>
                  <a:gd name="connsiteX5" fmla="*/ 0 w 1843664"/>
                  <a:gd name="connsiteY5" fmla="*/ 457202 h 914402"/>
                  <a:gd name="connsiteX0" fmla="*/ 0 w 1843664"/>
                  <a:gd name="connsiteY0" fmla="*/ 0 h 914402"/>
                  <a:gd name="connsiteX1" fmla="*/ 1843664 w 1843664"/>
                  <a:gd name="connsiteY1" fmla="*/ 0 h 914402"/>
                  <a:gd name="connsiteX2" fmla="*/ 1828800 w 1843664"/>
                  <a:gd name="connsiteY2" fmla="*/ 457200 h 914402"/>
                  <a:gd name="connsiteX3" fmla="*/ 1843663 w 1843664"/>
                  <a:gd name="connsiteY3" fmla="*/ 914402 h 914402"/>
                  <a:gd name="connsiteX4" fmla="*/ 0 w 1843664"/>
                  <a:gd name="connsiteY4" fmla="*/ 914400 h 914402"/>
                  <a:gd name="connsiteX5" fmla="*/ 0 w 1843664"/>
                  <a:gd name="connsiteY5" fmla="*/ 457202 h 914402"/>
                  <a:gd name="connsiteX0" fmla="*/ 0 w 1843663"/>
                  <a:gd name="connsiteY0" fmla="*/ 0 h 914402"/>
                  <a:gd name="connsiteX1" fmla="*/ 1757695 w 1843663"/>
                  <a:gd name="connsiteY1" fmla="*/ 0 h 914402"/>
                  <a:gd name="connsiteX2" fmla="*/ 1828800 w 1843663"/>
                  <a:gd name="connsiteY2" fmla="*/ 457200 h 914402"/>
                  <a:gd name="connsiteX3" fmla="*/ 1843663 w 1843663"/>
                  <a:gd name="connsiteY3" fmla="*/ 914402 h 914402"/>
                  <a:gd name="connsiteX4" fmla="*/ 0 w 1843663"/>
                  <a:gd name="connsiteY4" fmla="*/ 914400 h 914402"/>
                  <a:gd name="connsiteX5" fmla="*/ 0 w 1843663"/>
                  <a:gd name="connsiteY5" fmla="*/ 457202 h 914402"/>
                  <a:gd name="connsiteX0" fmla="*/ 0 w 1828800"/>
                  <a:gd name="connsiteY0" fmla="*/ 0 h 914402"/>
                  <a:gd name="connsiteX1" fmla="*/ 1757695 w 1828800"/>
                  <a:gd name="connsiteY1" fmla="*/ 0 h 914402"/>
                  <a:gd name="connsiteX2" fmla="*/ 1828800 w 1828800"/>
                  <a:gd name="connsiteY2" fmla="*/ 457200 h 914402"/>
                  <a:gd name="connsiteX3" fmla="*/ 1757695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2">
                    <a:moveTo>
                      <a:pt x="0" y="0"/>
                    </a:moveTo>
                    <a:lnTo>
                      <a:pt x="1757695" y="0"/>
                    </a:lnTo>
                    <a:lnTo>
                      <a:pt x="1828800" y="457200"/>
                    </a:lnTo>
                    <a:lnTo>
                      <a:pt x="1757695" y="914402"/>
                    </a:lnTo>
                    <a:lnTo>
                      <a:pt x="0" y="914400"/>
                    </a:lnTo>
                    <a:lnTo>
                      <a:pt x="0" y="457202"/>
                    </a:lnTo>
                    <a:close/>
                  </a:path>
                </a:pathLst>
              </a:custGeom>
              <a:solidFill>
                <a:schemeClr val="tx1"/>
              </a:solidFill>
              <a:ln w="25400" cap="flat" cmpd="sng" algn="ctr">
                <a:noFill/>
                <a:prstDash val="solid"/>
                <a:headEnd/>
                <a:tailEnd/>
              </a:ln>
              <a:effectLst/>
            </p:spPr>
            <p:txBody>
              <a:bodyPr lIns="70613" tIns="70613" rIns="70613" bIns="70613" anchor="ctr">
                <a:noAutofit/>
              </a:bodyPr>
              <a:lstStyle/>
              <a:p>
                <a:pPr marL="0" marR="0" lvl="0" indent="0" algn="l" defTabSz="879881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 typeface="Arial" charset="0"/>
                  <a:buChar char="▪"/>
                  <a:tabLst/>
                  <a:defRPr/>
                </a:pPr>
                <a:endPara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296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17" name="TextBox 4">
                <a:extLst>
                  <a:ext uri="{FF2B5EF4-FFF2-40B4-BE49-F238E27FC236}">
                    <a16:creationId xmlns:a16="http://schemas.microsoft.com/office/drawing/2014/main" id="{6034982E-879D-4AC6-8F93-AB6FF2928B70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766692" y="1839225"/>
                <a:ext cx="2828975" cy="63691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marL="0" indent="0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193675" indent="-192088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600">
                    <a:solidFill>
                      <a:schemeClr val="tx1"/>
                    </a:solidFill>
                    <a:latin typeface="+mn-lt"/>
                  </a:defRPr>
                </a:lvl2pPr>
                <a:lvl3pPr marL="457200" indent="-261938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600">
                    <a:solidFill>
                      <a:schemeClr val="tx1"/>
                    </a:solidFill>
                    <a:latin typeface="+mn-lt"/>
                  </a:defRPr>
                </a:lvl3pPr>
                <a:lvl4pPr marL="614363" indent="-1555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600">
                    <a:solidFill>
                      <a:schemeClr val="tx1"/>
                    </a:solidFill>
                    <a:latin typeface="+mn-lt"/>
                  </a:defRPr>
                </a:lvl4pPr>
                <a:lvl5pPr marL="746125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5pPr>
                <a:lvl6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6pPr>
                <a:lvl7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7pPr>
                <a:lvl8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8pPr>
                <a:lvl9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Tx/>
                  <a:buNone/>
                  <a:tabLst/>
                  <a:defRPr/>
                </a:pP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Financial and socio-economic impacts</a:t>
                </a:r>
              </a:p>
              <a:p>
                <a:pPr marL="0" marR="0" lvl="0" indent="0" algn="l" defTabSz="91352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Tx/>
                  <a:buNone/>
                  <a:tabLst/>
                  <a:defRPr/>
                </a:pP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Arial" panose="020B0604020202020204" pitchFamily="34" charset="0"/>
                  </a:rPr>
                  <a:t> </a:t>
                </a:r>
              </a:p>
            </p:txBody>
          </p:sp>
          <p:sp>
            <p:nvSpPr>
              <p:cNvPr id="18" name="Rectangle 37">
                <a:extLst>
                  <a:ext uri="{FF2B5EF4-FFF2-40B4-BE49-F238E27FC236}">
                    <a16:creationId xmlns:a16="http://schemas.microsoft.com/office/drawing/2014/main" id="{457E6C4E-7E48-4E48-84D3-AD950D64C325}"/>
                  </a:ext>
                </a:extLst>
              </p:cNvPr>
              <p:cNvSpPr txBox="1"/>
              <p:nvPr/>
            </p:nvSpPr>
            <p:spPr>
              <a:xfrm>
                <a:off x="661312" y="2892251"/>
                <a:ext cx="3121368" cy="721839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vert="horz" wrap="square" lIns="0" tIns="0" rIns="0" bIns="0" rtlCol="0" anchor="t" anchorCtr="0">
                <a:spAutoFit/>
              </a:bodyPr>
              <a:lstStyle>
                <a:lvl1pPr marL="0" lvl="0" indent="0" defTabSz="895350">
                  <a:buFontTx/>
                  <a:buNone/>
                  <a:defRPr sz="1600">
                    <a:latin typeface="+mn-lt"/>
                  </a:defRPr>
                </a:lvl1pPr>
                <a:lvl2pPr marL="193675" indent="-192088" defTabSz="895350">
                  <a:defRPr sz="1600">
                    <a:latin typeface="+mn-lt"/>
                  </a:defRPr>
                </a:lvl2pPr>
                <a:lvl3pPr marL="457200" indent="-261938" defTabSz="895350">
                  <a:buSzPct val="120000"/>
                  <a:buChar char="–"/>
                  <a:defRPr sz="1600">
                    <a:latin typeface="+mn-lt"/>
                  </a:defRPr>
                </a:lvl3pPr>
                <a:lvl4pPr marL="614363" indent="-155575" defTabSz="895350">
                  <a:buSzPct val="120000"/>
                  <a:buChar char="▫"/>
                  <a:defRPr sz="1600">
                    <a:latin typeface="+mn-lt"/>
                  </a:defRPr>
                </a:lvl4pPr>
                <a:lvl5pPr marL="746125" indent="-130175" defTabSz="895350">
                  <a:buSzPct val="89000"/>
                  <a:buChar char="-"/>
                  <a:defRPr sz="1600">
                    <a:latin typeface="+mn-lt"/>
                  </a:defRPr>
                </a:lvl5pPr>
                <a:lvl6pPr marL="12033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latin typeface="+mn-lt"/>
                  </a:defRPr>
                </a:lvl6pPr>
                <a:lvl7pPr marL="16605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latin typeface="+mn-lt"/>
                  </a:defRPr>
                </a:lvl7pPr>
                <a:lvl8pPr marL="21177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latin typeface="+mn-lt"/>
                  </a:defRPr>
                </a:lvl8pPr>
                <a:lvl9pPr marL="25749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latin typeface="+mn-lt"/>
                  </a:defRPr>
                </a:lvl9pPr>
              </a:lstStyle>
              <a:p>
                <a:pPr marL="1620" marR="0" lvl="1" indent="0" algn="l" defTabSz="913526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Tx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  <a:p>
                <a:pPr marL="193675" marR="0" lvl="1" indent="-192088" algn="l" defTabSz="895350" rtl="0" eaLnBrk="1" fontAlgn="t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 typeface="Arial" charset="0"/>
                  <a:buChar char="▪"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  <a:p>
                <a:pPr marL="193675" marR="0" lvl="1" indent="-192088" algn="l" defTabSz="895350" rtl="0" eaLnBrk="1" fontAlgn="t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 typeface="Arial" charset="0"/>
                  <a:buChar char="▪"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4A7B5198-3B8F-4B0F-B54A-7AD93C3F98C6}"/>
                </a:ext>
              </a:extLst>
            </p:cNvPr>
            <p:cNvGrpSpPr/>
            <p:nvPr/>
          </p:nvGrpSpPr>
          <p:grpSpPr>
            <a:xfrm>
              <a:off x="4222149" y="1755113"/>
              <a:ext cx="3180942" cy="2108436"/>
              <a:chOff x="4222149" y="1755113"/>
              <a:chExt cx="3180942" cy="2108436"/>
            </a:xfrm>
          </p:grpSpPr>
          <p:sp>
            <p:nvSpPr>
              <p:cNvPr id="13" name="Rectangle 25">
                <a:extLst>
                  <a:ext uri="{FF2B5EF4-FFF2-40B4-BE49-F238E27FC236}">
                    <a16:creationId xmlns:a16="http://schemas.microsoft.com/office/drawing/2014/main" id="{D5CCD040-7578-429C-A812-5A27DE13E5E7}"/>
                  </a:ext>
                </a:extLst>
              </p:cNvPr>
              <p:cNvSpPr txBox="1"/>
              <p:nvPr/>
            </p:nvSpPr>
            <p:spPr>
              <a:xfrm>
                <a:off x="4222149" y="2892251"/>
                <a:ext cx="3095948" cy="971298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  <p:style>
              <a:lnRef idx="2">
                <a:schemeClr val="accent4"/>
              </a:lnRef>
              <a:fillRef idx="1">
                <a:schemeClr val="lt1"/>
              </a:fillRef>
              <a:effectRef idx="0">
                <a:schemeClr val="accent4"/>
              </a:effectRef>
              <a:fontRef idx="minor">
                <a:schemeClr val="dk1"/>
              </a:fontRef>
            </p:style>
            <p:txBody>
              <a:bodyPr vert="horz" wrap="square" lIns="0" tIns="0" rIns="0" bIns="0" rtlCol="0" anchor="t" anchorCtr="0">
                <a:spAutoFit/>
              </a:bodyPr>
              <a:lstStyle>
                <a:lvl1pPr marL="0" lvl="0" indent="0" defTabSz="895350">
                  <a:buFontTx/>
                  <a:buNone/>
                  <a:defRPr sz="1600">
                    <a:latin typeface="+mn-lt"/>
                  </a:defRPr>
                </a:lvl1pPr>
                <a:lvl2pPr marL="193675" indent="-192088" defTabSz="895350">
                  <a:defRPr sz="1600">
                    <a:latin typeface="+mn-lt"/>
                  </a:defRPr>
                </a:lvl2pPr>
                <a:lvl3pPr marL="457200" indent="-261938" defTabSz="895350">
                  <a:buSzPct val="120000"/>
                  <a:buChar char="–"/>
                  <a:defRPr sz="1600">
                    <a:latin typeface="+mn-lt"/>
                  </a:defRPr>
                </a:lvl3pPr>
                <a:lvl4pPr marL="614363" indent="-155575" defTabSz="895350">
                  <a:buSzPct val="120000"/>
                  <a:buChar char="▫"/>
                  <a:defRPr sz="1600">
                    <a:latin typeface="+mn-lt"/>
                  </a:defRPr>
                </a:lvl4pPr>
                <a:lvl5pPr marL="746125" indent="-130175" defTabSz="895350">
                  <a:buSzPct val="89000"/>
                  <a:buChar char="-"/>
                  <a:defRPr sz="1600">
                    <a:latin typeface="+mn-lt"/>
                  </a:defRPr>
                </a:lvl5pPr>
                <a:lvl6pPr marL="12033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latin typeface="+mn-lt"/>
                  </a:defRPr>
                </a:lvl6pPr>
                <a:lvl7pPr marL="16605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latin typeface="+mn-lt"/>
                  </a:defRPr>
                </a:lvl7pPr>
                <a:lvl8pPr marL="21177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latin typeface="+mn-lt"/>
                  </a:defRPr>
                </a:lvl8pPr>
                <a:lvl9pPr marL="25749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latin typeface="+mn-lt"/>
                  </a:defRPr>
                </a:lvl9pPr>
              </a:lstStyle>
              <a:p>
                <a:pPr marL="285750" marR="0" lvl="1" indent="-168275" algn="l" defTabSz="895350" rtl="0" eaLnBrk="1" fontAlgn="t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Proportion of caregivers practicing handwashing at critical times</a:t>
                </a:r>
              </a:p>
              <a:p>
                <a:pPr marL="1587" marR="0" lvl="1" indent="0" algn="l" defTabSz="895350" rtl="0" eaLnBrk="1" fontAlgn="t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4" name="Freeform 8">
                <a:extLst>
                  <a:ext uri="{FF2B5EF4-FFF2-40B4-BE49-F238E27FC236}">
                    <a16:creationId xmlns:a16="http://schemas.microsoft.com/office/drawing/2014/main" id="{85A4A523-22A8-4812-BFB0-014C7154A8C6}"/>
                  </a:ext>
                </a:extLst>
              </p:cNvPr>
              <p:cNvSpPr/>
              <p:nvPr>
                <p:custDataLst>
                  <p:tags r:id="rId3"/>
                </p:custDataLst>
              </p:nvPr>
            </p:nvSpPr>
            <p:spPr bwMode="auto">
              <a:xfrm>
                <a:off x="4308646" y="1755113"/>
                <a:ext cx="3094445" cy="700916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1 h 914400"/>
                  <a:gd name="connsiteX0" fmla="*/ 0 w 1828800"/>
                  <a:gd name="connsiteY0" fmla="*/ 0 h 914400"/>
                  <a:gd name="connsiteX1" fmla="*/ 1749399 w 1828800"/>
                  <a:gd name="connsiteY1" fmla="*/ 1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1 h 914400"/>
                  <a:gd name="connsiteX0" fmla="*/ 0 w 1828800"/>
                  <a:gd name="connsiteY0" fmla="*/ 0 h 914402"/>
                  <a:gd name="connsiteX1" fmla="*/ 1749399 w 1828800"/>
                  <a:gd name="connsiteY1" fmla="*/ 1 h 914402"/>
                  <a:gd name="connsiteX2" fmla="*/ 1828800 w 1828800"/>
                  <a:gd name="connsiteY2" fmla="*/ 457200 h 914402"/>
                  <a:gd name="connsiteX3" fmla="*/ 1749399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1 h 914402"/>
                  <a:gd name="connsiteX0" fmla="*/ 0 w 1828800"/>
                  <a:gd name="connsiteY0" fmla="*/ 0 h 914402"/>
                  <a:gd name="connsiteX1" fmla="*/ 1749399 w 1828800"/>
                  <a:gd name="connsiteY1" fmla="*/ 1 h 914402"/>
                  <a:gd name="connsiteX2" fmla="*/ 1828800 w 1828800"/>
                  <a:gd name="connsiteY2" fmla="*/ 457200 h 914402"/>
                  <a:gd name="connsiteX3" fmla="*/ 1749399 w 1828800"/>
                  <a:gd name="connsiteY3" fmla="*/ 914402 h 914402"/>
                  <a:gd name="connsiteX4" fmla="*/ 0 w 1828800"/>
                  <a:gd name="connsiteY4" fmla="*/ 914400 h 914402"/>
                  <a:gd name="connsiteX5" fmla="*/ 79401 w 1828800"/>
                  <a:gd name="connsiteY5" fmla="*/ 457202 h 914402"/>
                  <a:gd name="connsiteX0" fmla="*/ 0 w 1828800"/>
                  <a:gd name="connsiteY0" fmla="*/ 0 h 914402"/>
                  <a:gd name="connsiteX1" fmla="*/ 1749399 w 1828800"/>
                  <a:gd name="connsiteY1" fmla="*/ 0 h 914402"/>
                  <a:gd name="connsiteX2" fmla="*/ 1828800 w 1828800"/>
                  <a:gd name="connsiteY2" fmla="*/ 457200 h 914402"/>
                  <a:gd name="connsiteX3" fmla="*/ 1749399 w 1828800"/>
                  <a:gd name="connsiteY3" fmla="*/ 914402 h 914402"/>
                  <a:gd name="connsiteX4" fmla="*/ 0 w 1828800"/>
                  <a:gd name="connsiteY4" fmla="*/ 914400 h 914402"/>
                  <a:gd name="connsiteX5" fmla="*/ 79401 w 1828800"/>
                  <a:gd name="connsiteY5" fmla="*/ 457202 h 914402"/>
                  <a:gd name="connsiteX0" fmla="*/ 0 w 1828800"/>
                  <a:gd name="connsiteY0" fmla="*/ 0 h 914402"/>
                  <a:gd name="connsiteX1" fmla="*/ 1749399 w 1828800"/>
                  <a:gd name="connsiteY1" fmla="*/ 0 h 914402"/>
                  <a:gd name="connsiteX2" fmla="*/ 1828800 w 1828800"/>
                  <a:gd name="connsiteY2" fmla="*/ 457200 h 914402"/>
                  <a:gd name="connsiteX3" fmla="*/ 1749399 w 1828800"/>
                  <a:gd name="connsiteY3" fmla="*/ 914402 h 914402"/>
                  <a:gd name="connsiteX4" fmla="*/ 0 w 1828800"/>
                  <a:gd name="connsiteY4" fmla="*/ 914400 h 914402"/>
                  <a:gd name="connsiteX5" fmla="*/ 79401 w 1828800"/>
                  <a:gd name="connsiteY5" fmla="*/ 457202 h 914402"/>
                  <a:gd name="connsiteX0" fmla="*/ 0 w 1828800"/>
                  <a:gd name="connsiteY0" fmla="*/ 0 h 914402"/>
                  <a:gd name="connsiteX1" fmla="*/ 1749399 w 1828800"/>
                  <a:gd name="connsiteY1" fmla="*/ 0 h 914402"/>
                  <a:gd name="connsiteX2" fmla="*/ 1828800 w 1828800"/>
                  <a:gd name="connsiteY2" fmla="*/ 457200 h 914402"/>
                  <a:gd name="connsiteX3" fmla="*/ 1749399 w 1828800"/>
                  <a:gd name="connsiteY3" fmla="*/ 914402 h 914402"/>
                  <a:gd name="connsiteX4" fmla="*/ 0 w 1828800"/>
                  <a:gd name="connsiteY4" fmla="*/ 914400 h 914402"/>
                  <a:gd name="connsiteX5" fmla="*/ 118532 w 1828800"/>
                  <a:gd name="connsiteY5" fmla="*/ 457202 h 914402"/>
                  <a:gd name="connsiteX0" fmla="*/ 0 w 1828800"/>
                  <a:gd name="connsiteY0" fmla="*/ 0 h 914402"/>
                  <a:gd name="connsiteX1" fmla="*/ 1710267 w 1828800"/>
                  <a:gd name="connsiteY1" fmla="*/ 0 h 914402"/>
                  <a:gd name="connsiteX2" fmla="*/ 1828800 w 1828800"/>
                  <a:gd name="connsiteY2" fmla="*/ 457200 h 914402"/>
                  <a:gd name="connsiteX3" fmla="*/ 1749399 w 1828800"/>
                  <a:gd name="connsiteY3" fmla="*/ 914402 h 914402"/>
                  <a:gd name="connsiteX4" fmla="*/ 0 w 1828800"/>
                  <a:gd name="connsiteY4" fmla="*/ 914400 h 914402"/>
                  <a:gd name="connsiteX5" fmla="*/ 118532 w 1828800"/>
                  <a:gd name="connsiteY5" fmla="*/ 457202 h 914402"/>
                  <a:gd name="connsiteX0" fmla="*/ 0 w 1828800"/>
                  <a:gd name="connsiteY0" fmla="*/ 0 h 914402"/>
                  <a:gd name="connsiteX1" fmla="*/ 1710267 w 1828800"/>
                  <a:gd name="connsiteY1" fmla="*/ 0 h 914402"/>
                  <a:gd name="connsiteX2" fmla="*/ 1828800 w 1828800"/>
                  <a:gd name="connsiteY2" fmla="*/ 457200 h 914402"/>
                  <a:gd name="connsiteX3" fmla="*/ 1710267 w 1828800"/>
                  <a:gd name="connsiteY3" fmla="*/ 914402 h 914402"/>
                  <a:gd name="connsiteX4" fmla="*/ 0 w 1828800"/>
                  <a:gd name="connsiteY4" fmla="*/ 914400 h 914402"/>
                  <a:gd name="connsiteX5" fmla="*/ 118532 w 1828800"/>
                  <a:gd name="connsiteY5" fmla="*/ 457202 h 914402"/>
                  <a:gd name="connsiteX0" fmla="*/ 0 w 1828800"/>
                  <a:gd name="connsiteY0" fmla="*/ 0 h 914402"/>
                  <a:gd name="connsiteX1" fmla="*/ 1710267 w 1828800"/>
                  <a:gd name="connsiteY1" fmla="*/ 0 h 914402"/>
                  <a:gd name="connsiteX2" fmla="*/ 1828800 w 1828800"/>
                  <a:gd name="connsiteY2" fmla="*/ 457200 h 914402"/>
                  <a:gd name="connsiteX3" fmla="*/ 1710267 w 1828800"/>
                  <a:gd name="connsiteY3" fmla="*/ 914402 h 914402"/>
                  <a:gd name="connsiteX4" fmla="*/ 0 w 1828800"/>
                  <a:gd name="connsiteY4" fmla="*/ 914400 h 914402"/>
                  <a:gd name="connsiteX5" fmla="*/ 154534 w 1828800"/>
                  <a:gd name="connsiteY5" fmla="*/ 457202 h 914402"/>
                  <a:gd name="connsiteX0" fmla="*/ 0 w 1828800"/>
                  <a:gd name="connsiteY0" fmla="*/ 0 h 914402"/>
                  <a:gd name="connsiteX1" fmla="*/ 1674266 w 1828800"/>
                  <a:gd name="connsiteY1" fmla="*/ 0 h 914402"/>
                  <a:gd name="connsiteX2" fmla="*/ 1828800 w 1828800"/>
                  <a:gd name="connsiteY2" fmla="*/ 457200 h 914402"/>
                  <a:gd name="connsiteX3" fmla="*/ 1710267 w 1828800"/>
                  <a:gd name="connsiteY3" fmla="*/ 914402 h 914402"/>
                  <a:gd name="connsiteX4" fmla="*/ 0 w 1828800"/>
                  <a:gd name="connsiteY4" fmla="*/ 914400 h 914402"/>
                  <a:gd name="connsiteX5" fmla="*/ 154534 w 1828800"/>
                  <a:gd name="connsiteY5" fmla="*/ 457202 h 914402"/>
                  <a:gd name="connsiteX0" fmla="*/ 0 w 1828800"/>
                  <a:gd name="connsiteY0" fmla="*/ 0 h 914402"/>
                  <a:gd name="connsiteX1" fmla="*/ 1674266 w 1828800"/>
                  <a:gd name="connsiteY1" fmla="*/ 0 h 914402"/>
                  <a:gd name="connsiteX2" fmla="*/ 1828800 w 1828800"/>
                  <a:gd name="connsiteY2" fmla="*/ 457200 h 914402"/>
                  <a:gd name="connsiteX3" fmla="*/ 1674266 w 1828800"/>
                  <a:gd name="connsiteY3" fmla="*/ 914402 h 914402"/>
                  <a:gd name="connsiteX4" fmla="*/ 0 w 1828800"/>
                  <a:gd name="connsiteY4" fmla="*/ 914400 h 914402"/>
                  <a:gd name="connsiteX5" fmla="*/ 154534 w 1828800"/>
                  <a:gd name="connsiteY5" fmla="*/ 457202 h 914402"/>
                  <a:gd name="connsiteX0" fmla="*/ 0 w 1828800"/>
                  <a:gd name="connsiteY0" fmla="*/ 0 h 914402"/>
                  <a:gd name="connsiteX1" fmla="*/ 1674266 w 1828800"/>
                  <a:gd name="connsiteY1" fmla="*/ 0 h 914402"/>
                  <a:gd name="connsiteX2" fmla="*/ 1828800 w 1828800"/>
                  <a:gd name="connsiteY2" fmla="*/ 457200 h 914402"/>
                  <a:gd name="connsiteX3" fmla="*/ 1674266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4266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85969 w 1828800"/>
                  <a:gd name="connsiteY5" fmla="*/ 457202 h 914402"/>
                  <a:gd name="connsiteX0" fmla="*/ 0 w 1828800"/>
                  <a:gd name="connsiteY0" fmla="*/ 0 h 914402"/>
                  <a:gd name="connsiteX1" fmla="*/ 174283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85969 w 1828800"/>
                  <a:gd name="connsiteY5" fmla="*/ 457202 h 914402"/>
                  <a:gd name="connsiteX0" fmla="*/ 0 w 1828800"/>
                  <a:gd name="connsiteY0" fmla="*/ 0 h 914402"/>
                  <a:gd name="connsiteX1" fmla="*/ 1742831 w 1828800"/>
                  <a:gd name="connsiteY1" fmla="*/ 0 h 914402"/>
                  <a:gd name="connsiteX2" fmla="*/ 1828800 w 1828800"/>
                  <a:gd name="connsiteY2" fmla="*/ 457200 h 914402"/>
                  <a:gd name="connsiteX3" fmla="*/ 1742831 w 1828800"/>
                  <a:gd name="connsiteY3" fmla="*/ 914402 h 914402"/>
                  <a:gd name="connsiteX4" fmla="*/ 0 w 1828800"/>
                  <a:gd name="connsiteY4" fmla="*/ 914400 h 914402"/>
                  <a:gd name="connsiteX5" fmla="*/ 85969 w 1828800"/>
                  <a:gd name="connsiteY5" fmla="*/ 457202 h 914402"/>
                  <a:gd name="connsiteX0" fmla="*/ 0 w 1828800"/>
                  <a:gd name="connsiteY0" fmla="*/ 0 h 914402"/>
                  <a:gd name="connsiteX1" fmla="*/ 1742831 w 1828800"/>
                  <a:gd name="connsiteY1" fmla="*/ 0 h 914402"/>
                  <a:gd name="connsiteX2" fmla="*/ 1828800 w 1828800"/>
                  <a:gd name="connsiteY2" fmla="*/ 457200 h 914402"/>
                  <a:gd name="connsiteX3" fmla="*/ 174283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742831 w 1828800"/>
                  <a:gd name="connsiteY1" fmla="*/ 0 h 914402"/>
                  <a:gd name="connsiteX2" fmla="*/ 1828800 w 1828800"/>
                  <a:gd name="connsiteY2" fmla="*/ 457200 h 914402"/>
                  <a:gd name="connsiteX3" fmla="*/ 174283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742831 w 1828800"/>
                  <a:gd name="connsiteY1" fmla="*/ 0 h 914402"/>
                  <a:gd name="connsiteX2" fmla="*/ 1828800 w 1828800"/>
                  <a:gd name="connsiteY2" fmla="*/ 457200 h 914402"/>
                  <a:gd name="connsiteX3" fmla="*/ 174283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742831 w 1828800"/>
                  <a:gd name="connsiteY1" fmla="*/ 0 h 914402"/>
                  <a:gd name="connsiteX2" fmla="*/ 1828800 w 1828800"/>
                  <a:gd name="connsiteY2" fmla="*/ 457200 h 914402"/>
                  <a:gd name="connsiteX3" fmla="*/ 1742831 w 1828800"/>
                  <a:gd name="connsiteY3" fmla="*/ 914402 h 914402"/>
                  <a:gd name="connsiteX4" fmla="*/ 0 w 1828800"/>
                  <a:gd name="connsiteY4" fmla="*/ 914400 h 914402"/>
                  <a:gd name="connsiteX5" fmla="*/ 85969 w 1828800"/>
                  <a:gd name="connsiteY5" fmla="*/ 457202 h 914402"/>
                  <a:gd name="connsiteX0" fmla="*/ 0 w 1828800"/>
                  <a:gd name="connsiteY0" fmla="*/ 0 h 914402"/>
                  <a:gd name="connsiteX1" fmla="*/ 1742831 w 1828800"/>
                  <a:gd name="connsiteY1" fmla="*/ 0 h 914402"/>
                  <a:gd name="connsiteX2" fmla="*/ 1828800 w 1828800"/>
                  <a:gd name="connsiteY2" fmla="*/ 457200 h 914402"/>
                  <a:gd name="connsiteX3" fmla="*/ 1742831 w 1828800"/>
                  <a:gd name="connsiteY3" fmla="*/ 914402 h 914402"/>
                  <a:gd name="connsiteX4" fmla="*/ 0 w 1828800"/>
                  <a:gd name="connsiteY4" fmla="*/ 914400 h 914402"/>
                  <a:gd name="connsiteX5" fmla="*/ 85969 w 1828800"/>
                  <a:gd name="connsiteY5" fmla="*/ 457202 h 914402"/>
                  <a:gd name="connsiteX0" fmla="*/ 0 w 1828800"/>
                  <a:gd name="connsiteY0" fmla="*/ 0 h 914402"/>
                  <a:gd name="connsiteX1" fmla="*/ 1742831 w 1828800"/>
                  <a:gd name="connsiteY1" fmla="*/ 0 h 914402"/>
                  <a:gd name="connsiteX2" fmla="*/ 1828800 w 1828800"/>
                  <a:gd name="connsiteY2" fmla="*/ 457200 h 914402"/>
                  <a:gd name="connsiteX3" fmla="*/ 1742831 w 1828800"/>
                  <a:gd name="connsiteY3" fmla="*/ 914402 h 914402"/>
                  <a:gd name="connsiteX4" fmla="*/ 0 w 1828800"/>
                  <a:gd name="connsiteY4" fmla="*/ 914400 h 914402"/>
                  <a:gd name="connsiteX5" fmla="*/ 85969 w 1828800"/>
                  <a:gd name="connsiteY5" fmla="*/ 457202 h 914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2">
                    <a:moveTo>
                      <a:pt x="0" y="0"/>
                    </a:moveTo>
                    <a:lnTo>
                      <a:pt x="1742831" y="0"/>
                    </a:lnTo>
                    <a:lnTo>
                      <a:pt x="1828800" y="457200"/>
                    </a:lnTo>
                    <a:lnTo>
                      <a:pt x="1742831" y="914402"/>
                    </a:lnTo>
                    <a:lnTo>
                      <a:pt x="0" y="914400"/>
                    </a:lnTo>
                    <a:lnTo>
                      <a:pt x="85969" y="457202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  <a:headEnd/>
                <a:tailEnd/>
              </a:ln>
            </p:spPr>
            <p:style>
              <a:lnRef idx="2">
                <a:schemeClr val="accent4"/>
              </a:lnRef>
              <a:fillRef idx="1">
                <a:schemeClr val="lt1"/>
              </a:fillRef>
              <a:effectRef idx="0">
                <a:schemeClr val="accent4"/>
              </a:effectRef>
              <a:fontRef idx="minor">
                <a:schemeClr val="dk1"/>
              </a:fontRef>
            </p:style>
            <p:txBody>
              <a:bodyPr lIns="70613" tIns="70613" rIns="70613" bIns="70613" anchor="ctr">
                <a:noAutofit/>
              </a:bodyPr>
              <a:lstStyle/>
              <a:p>
                <a:pPr marL="0" marR="0" lvl="0" indent="0" algn="l" defTabSz="879881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 typeface="Arial" charset="0"/>
                  <a:buChar char="▪"/>
                  <a:tabLst/>
                  <a:defRPr/>
                </a:pPr>
                <a:endPara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296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11E2B2A2-190A-48FD-ABAC-CCDF80AD34E3}"/>
                </a:ext>
              </a:extLst>
            </p:cNvPr>
            <p:cNvGrpSpPr/>
            <p:nvPr/>
          </p:nvGrpSpPr>
          <p:grpSpPr>
            <a:xfrm>
              <a:off x="7882538" y="1733073"/>
              <a:ext cx="3392144" cy="2955492"/>
              <a:chOff x="7882538" y="1733073"/>
              <a:chExt cx="3392144" cy="2955492"/>
            </a:xfrm>
          </p:grpSpPr>
          <p:sp>
            <p:nvSpPr>
              <p:cNvPr id="10" name="Freeform 14">
                <a:extLst>
                  <a:ext uri="{FF2B5EF4-FFF2-40B4-BE49-F238E27FC236}">
                    <a16:creationId xmlns:a16="http://schemas.microsoft.com/office/drawing/2014/main" id="{19502F3F-38E9-43F4-BD24-962FDA944E3A}"/>
                  </a:ext>
                </a:extLst>
              </p:cNvPr>
              <p:cNvSpPr/>
              <p:nvPr>
                <p:custDataLst>
                  <p:tags r:id="rId1"/>
                </p:custDataLst>
              </p:nvPr>
            </p:nvSpPr>
            <p:spPr bwMode="auto">
              <a:xfrm>
                <a:off x="7882538" y="1733073"/>
                <a:ext cx="3365259" cy="700916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1 h 914400"/>
                  <a:gd name="connsiteX0" fmla="*/ 0 w 1828800"/>
                  <a:gd name="connsiteY0" fmla="*/ 0 h 914400"/>
                  <a:gd name="connsiteX1" fmla="*/ 1749399 w 1828800"/>
                  <a:gd name="connsiteY1" fmla="*/ 1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1 h 914400"/>
                  <a:gd name="connsiteX0" fmla="*/ 0 w 1828800"/>
                  <a:gd name="connsiteY0" fmla="*/ 0 h 914402"/>
                  <a:gd name="connsiteX1" fmla="*/ 1749399 w 1828800"/>
                  <a:gd name="connsiteY1" fmla="*/ 1 h 914402"/>
                  <a:gd name="connsiteX2" fmla="*/ 1828800 w 1828800"/>
                  <a:gd name="connsiteY2" fmla="*/ 457200 h 914402"/>
                  <a:gd name="connsiteX3" fmla="*/ 1749399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1 h 914402"/>
                  <a:gd name="connsiteX0" fmla="*/ 0 w 1828800"/>
                  <a:gd name="connsiteY0" fmla="*/ 0 h 914402"/>
                  <a:gd name="connsiteX1" fmla="*/ 1749399 w 1828800"/>
                  <a:gd name="connsiteY1" fmla="*/ 1 h 914402"/>
                  <a:gd name="connsiteX2" fmla="*/ 1828800 w 1828800"/>
                  <a:gd name="connsiteY2" fmla="*/ 457200 h 914402"/>
                  <a:gd name="connsiteX3" fmla="*/ 1749399 w 1828800"/>
                  <a:gd name="connsiteY3" fmla="*/ 914402 h 914402"/>
                  <a:gd name="connsiteX4" fmla="*/ 0 w 1828800"/>
                  <a:gd name="connsiteY4" fmla="*/ 914400 h 914402"/>
                  <a:gd name="connsiteX5" fmla="*/ 79401 w 1828800"/>
                  <a:gd name="connsiteY5" fmla="*/ 457202 h 914402"/>
                  <a:gd name="connsiteX0" fmla="*/ 0 w 1828800"/>
                  <a:gd name="connsiteY0" fmla="*/ 0 h 914402"/>
                  <a:gd name="connsiteX1" fmla="*/ 1749399 w 1828800"/>
                  <a:gd name="connsiteY1" fmla="*/ 0 h 914402"/>
                  <a:gd name="connsiteX2" fmla="*/ 1828800 w 1828800"/>
                  <a:gd name="connsiteY2" fmla="*/ 457200 h 914402"/>
                  <a:gd name="connsiteX3" fmla="*/ 1749399 w 1828800"/>
                  <a:gd name="connsiteY3" fmla="*/ 914402 h 914402"/>
                  <a:gd name="connsiteX4" fmla="*/ 0 w 1828800"/>
                  <a:gd name="connsiteY4" fmla="*/ 914400 h 914402"/>
                  <a:gd name="connsiteX5" fmla="*/ 79401 w 1828800"/>
                  <a:gd name="connsiteY5" fmla="*/ 457202 h 914402"/>
                  <a:gd name="connsiteX0" fmla="*/ 0 w 1828800"/>
                  <a:gd name="connsiteY0" fmla="*/ 0 h 914402"/>
                  <a:gd name="connsiteX1" fmla="*/ 1749399 w 1828800"/>
                  <a:gd name="connsiteY1" fmla="*/ 0 h 914402"/>
                  <a:gd name="connsiteX2" fmla="*/ 1828800 w 1828800"/>
                  <a:gd name="connsiteY2" fmla="*/ 457200 h 914402"/>
                  <a:gd name="connsiteX3" fmla="*/ 1749399 w 1828800"/>
                  <a:gd name="connsiteY3" fmla="*/ 914402 h 914402"/>
                  <a:gd name="connsiteX4" fmla="*/ 0 w 1828800"/>
                  <a:gd name="connsiteY4" fmla="*/ 914400 h 914402"/>
                  <a:gd name="connsiteX5" fmla="*/ 79401 w 1828800"/>
                  <a:gd name="connsiteY5" fmla="*/ 457202 h 914402"/>
                  <a:gd name="connsiteX0" fmla="*/ 0 w 1828800"/>
                  <a:gd name="connsiteY0" fmla="*/ 0 h 914402"/>
                  <a:gd name="connsiteX1" fmla="*/ 1749399 w 1828800"/>
                  <a:gd name="connsiteY1" fmla="*/ 0 h 914402"/>
                  <a:gd name="connsiteX2" fmla="*/ 1828800 w 1828800"/>
                  <a:gd name="connsiteY2" fmla="*/ 457200 h 914402"/>
                  <a:gd name="connsiteX3" fmla="*/ 1749399 w 1828800"/>
                  <a:gd name="connsiteY3" fmla="*/ 914402 h 914402"/>
                  <a:gd name="connsiteX4" fmla="*/ 0 w 1828800"/>
                  <a:gd name="connsiteY4" fmla="*/ 914400 h 914402"/>
                  <a:gd name="connsiteX5" fmla="*/ 118532 w 1828800"/>
                  <a:gd name="connsiteY5" fmla="*/ 457202 h 914402"/>
                  <a:gd name="connsiteX0" fmla="*/ 0 w 1828800"/>
                  <a:gd name="connsiteY0" fmla="*/ 0 h 914402"/>
                  <a:gd name="connsiteX1" fmla="*/ 1710268 w 1828800"/>
                  <a:gd name="connsiteY1" fmla="*/ 0 h 914402"/>
                  <a:gd name="connsiteX2" fmla="*/ 1828800 w 1828800"/>
                  <a:gd name="connsiteY2" fmla="*/ 457200 h 914402"/>
                  <a:gd name="connsiteX3" fmla="*/ 1749399 w 1828800"/>
                  <a:gd name="connsiteY3" fmla="*/ 914402 h 914402"/>
                  <a:gd name="connsiteX4" fmla="*/ 0 w 1828800"/>
                  <a:gd name="connsiteY4" fmla="*/ 914400 h 914402"/>
                  <a:gd name="connsiteX5" fmla="*/ 118532 w 1828800"/>
                  <a:gd name="connsiteY5" fmla="*/ 457202 h 914402"/>
                  <a:gd name="connsiteX0" fmla="*/ 0 w 1828800"/>
                  <a:gd name="connsiteY0" fmla="*/ 0 h 914402"/>
                  <a:gd name="connsiteX1" fmla="*/ 1710268 w 1828800"/>
                  <a:gd name="connsiteY1" fmla="*/ 0 h 914402"/>
                  <a:gd name="connsiteX2" fmla="*/ 1828800 w 1828800"/>
                  <a:gd name="connsiteY2" fmla="*/ 457200 h 914402"/>
                  <a:gd name="connsiteX3" fmla="*/ 1710268 w 1828800"/>
                  <a:gd name="connsiteY3" fmla="*/ 914402 h 914402"/>
                  <a:gd name="connsiteX4" fmla="*/ 0 w 1828800"/>
                  <a:gd name="connsiteY4" fmla="*/ 914400 h 914402"/>
                  <a:gd name="connsiteX5" fmla="*/ 118532 w 1828800"/>
                  <a:gd name="connsiteY5" fmla="*/ 457202 h 914402"/>
                  <a:gd name="connsiteX0" fmla="*/ 0 w 1828800"/>
                  <a:gd name="connsiteY0" fmla="*/ 0 h 914402"/>
                  <a:gd name="connsiteX1" fmla="*/ 1710268 w 1828800"/>
                  <a:gd name="connsiteY1" fmla="*/ 0 h 914402"/>
                  <a:gd name="connsiteX2" fmla="*/ 1828800 w 1828800"/>
                  <a:gd name="connsiteY2" fmla="*/ 457200 h 914402"/>
                  <a:gd name="connsiteX3" fmla="*/ 1710268 w 1828800"/>
                  <a:gd name="connsiteY3" fmla="*/ 914402 h 914402"/>
                  <a:gd name="connsiteX4" fmla="*/ 0 w 1828800"/>
                  <a:gd name="connsiteY4" fmla="*/ 914400 h 914402"/>
                  <a:gd name="connsiteX5" fmla="*/ 154534 w 1828800"/>
                  <a:gd name="connsiteY5" fmla="*/ 457202 h 914402"/>
                  <a:gd name="connsiteX0" fmla="*/ 0 w 1828800"/>
                  <a:gd name="connsiteY0" fmla="*/ 0 h 914402"/>
                  <a:gd name="connsiteX1" fmla="*/ 1674266 w 1828800"/>
                  <a:gd name="connsiteY1" fmla="*/ 0 h 914402"/>
                  <a:gd name="connsiteX2" fmla="*/ 1828800 w 1828800"/>
                  <a:gd name="connsiteY2" fmla="*/ 457200 h 914402"/>
                  <a:gd name="connsiteX3" fmla="*/ 1710268 w 1828800"/>
                  <a:gd name="connsiteY3" fmla="*/ 914402 h 914402"/>
                  <a:gd name="connsiteX4" fmla="*/ 0 w 1828800"/>
                  <a:gd name="connsiteY4" fmla="*/ 914400 h 914402"/>
                  <a:gd name="connsiteX5" fmla="*/ 154534 w 1828800"/>
                  <a:gd name="connsiteY5" fmla="*/ 457202 h 914402"/>
                  <a:gd name="connsiteX0" fmla="*/ 0 w 1828800"/>
                  <a:gd name="connsiteY0" fmla="*/ 0 h 914402"/>
                  <a:gd name="connsiteX1" fmla="*/ 1674266 w 1828800"/>
                  <a:gd name="connsiteY1" fmla="*/ 0 h 914402"/>
                  <a:gd name="connsiteX2" fmla="*/ 1828800 w 1828800"/>
                  <a:gd name="connsiteY2" fmla="*/ 457200 h 914402"/>
                  <a:gd name="connsiteX3" fmla="*/ 1674266 w 1828800"/>
                  <a:gd name="connsiteY3" fmla="*/ 914402 h 914402"/>
                  <a:gd name="connsiteX4" fmla="*/ 0 w 1828800"/>
                  <a:gd name="connsiteY4" fmla="*/ 914400 h 914402"/>
                  <a:gd name="connsiteX5" fmla="*/ 154534 w 1828800"/>
                  <a:gd name="connsiteY5" fmla="*/ 457202 h 914402"/>
                  <a:gd name="connsiteX0" fmla="*/ 0 w 1828800"/>
                  <a:gd name="connsiteY0" fmla="*/ 0 h 914402"/>
                  <a:gd name="connsiteX1" fmla="*/ 1674266 w 1828800"/>
                  <a:gd name="connsiteY1" fmla="*/ 0 h 914402"/>
                  <a:gd name="connsiteX2" fmla="*/ 1828800 w 1828800"/>
                  <a:gd name="connsiteY2" fmla="*/ 457200 h 914402"/>
                  <a:gd name="connsiteX3" fmla="*/ 1674266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4266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85969 w 1828800"/>
                  <a:gd name="connsiteY5" fmla="*/ 457202 h 914402"/>
                  <a:gd name="connsiteX0" fmla="*/ 0 w 1828800"/>
                  <a:gd name="connsiteY0" fmla="*/ 0 h 914402"/>
                  <a:gd name="connsiteX1" fmla="*/ 174283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85969 w 1828800"/>
                  <a:gd name="connsiteY5" fmla="*/ 457202 h 914402"/>
                  <a:gd name="connsiteX0" fmla="*/ 0 w 1828800"/>
                  <a:gd name="connsiteY0" fmla="*/ 0 h 914402"/>
                  <a:gd name="connsiteX1" fmla="*/ 1742831 w 1828800"/>
                  <a:gd name="connsiteY1" fmla="*/ 0 h 914402"/>
                  <a:gd name="connsiteX2" fmla="*/ 1828800 w 1828800"/>
                  <a:gd name="connsiteY2" fmla="*/ 457200 h 914402"/>
                  <a:gd name="connsiteX3" fmla="*/ 1742831 w 1828800"/>
                  <a:gd name="connsiteY3" fmla="*/ 914402 h 914402"/>
                  <a:gd name="connsiteX4" fmla="*/ 0 w 1828800"/>
                  <a:gd name="connsiteY4" fmla="*/ 914400 h 914402"/>
                  <a:gd name="connsiteX5" fmla="*/ 85969 w 1828800"/>
                  <a:gd name="connsiteY5" fmla="*/ 457202 h 914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2">
                    <a:moveTo>
                      <a:pt x="0" y="0"/>
                    </a:moveTo>
                    <a:lnTo>
                      <a:pt x="1742831" y="0"/>
                    </a:lnTo>
                    <a:lnTo>
                      <a:pt x="1828800" y="457200"/>
                    </a:lnTo>
                    <a:lnTo>
                      <a:pt x="1742831" y="914402"/>
                    </a:lnTo>
                    <a:lnTo>
                      <a:pt x="0" y="914400"/>
                    </a:lnTo>
                    <a:lnTo>
                      <a:pt x="85969" y="457202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  <a:headEnd/>
                <a:tailEnd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70613" tIns="70613" rIns="70613" bIns="70613" anchor="ctr">
                <a:noAutofit/>
              </a:bodyPr>
              <a:lstStyle/>
              <a:p>
                <a:pPr marL="0" marR="0" lvl="0" indent="0" algn="l" defTabSz="879881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 typeface="Arial" charset="0"/>
                  <a:buChar char="▪"/>
                  <a:tabLst/>
                  <a:defRPr/>
                </a:pPr>
                <a:endPara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296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11" name="TextBox 4">
                <a:extLst>
                  <a:ext uri="{FF2B5EF4-FFF2-40B4-BE49-F238E27FC236}">
                    <a16:creationId xmlns:a16="http://schemas.microsoft.com/office/drawing/2014/main" id="{1BE16579-3E5F-4B48-B65B-4DEBDFAD9723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8101068" y="1855427"/>
                <a:ext cx="3000474" cy="42461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marL="0" indent="0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193675" indent="-192088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600">
                    <a:solidFill>
                      <a:schemeClr val="tx1"/>
                    </a:solidFill>
                    <a:latin typeface="+mn-lt"/>
                  </a:defRPr>
                </a:lvl2pPr>
                <a:lvl3pPr marL="457200" indent="-261938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600">
                    <a:solidFill>
                      <a:schemeClr val="tx1"/>
                    </a:solidFill>
                    <a:latin typeface="+mn-lt"/>
                  </a:defRPr>
                </a:lvl3pPr>
                <a:lvl4pPr marL="614363" indent="-1555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600">
                    <a:solidFill>
                      <a:schemeClr val="tx1"/>
                    </a:solidFill>
                    <a:latin typeface="+mn-lt"/>
                  </a:defRPr>
                </a:lvl4pPr>
                <a:lvl5pPr marL="746125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5pPr>
                <a:lvl6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6pPr>
                <a:lvl7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7pPr>
                <a:lvl8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8pPr>
                <a:lvl9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marR="0" lvl="0" indent="0" algn="l" defTabSz="89535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Tx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Governance, Policy, Coordination and NIS</a:t>
                </a:r>
              </a:p>
            </p:txBody>
          </p:sp>
          <p:sp>
            <p:nvSpPr>
              <p:cNvPr id="12" name="Rectangle 25">
                <a:extLst>
                  <a:ext uri="{FF2B5EF4-FFF2-40B4-BE49-F238E27FC236}">
                    <a16:creationId xmlns:a16="http://schemas.microsoft.com/office/drawing/2014/main" id="{94AA49CA-49B2-48A8-8EDF-3211DE2D9199}"/>
                  </a:ext>
                </a:extLst>
              </p:cNvPr>
              <p:cNvSpPr txBox="1"/>
              <p:nvPr/>
            </p:nvSpPr>
            <p:spPr>
              <a:xfrm>
                <a:off x="7909423" y="2785776"/>
                <a:ext cx="3365259" cy="1902789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horz" wrap="square" lIns="0" tIns="0" rIns="0" bIns="0" rtlCol="0" anchor="t" anchorCtr="0">
                <a:spAutoFit/>
              </a:bodyPr>
              <a:lstStyle>
                <a:lvl1pPr marL="0" lvl="0" indent="0" defTabSz="895350">
                  <a:buFontTx/>
                  <a:buNone/>
                  <a:defRPr sz="1600">
                    <a:latin typeface="+mn-lt"/>
                  </a:defRPr>
                </a:lvl1pPr>
                <a:lvl2pPr marL="193675" indent="-192088" defTabSz="895350">
                  <a:defRPr sz="1600">
                    <a:latin typeface="+mn-lt"/>
                  </a:defRPr>
                </a:lvl2pPr>
                <a:lvl3pPr marL="457200" indent="-261938" defTabSz="895350">
                  <a:buSzPct val="120000"/>
                  <a:buChar char="–"/>
                  <a:defRPr sz="1600">
                    <a:latin typeface="+mn-lt"/>
                  </a:defRPr>
                </a:lvl3pPr>
                <a:lvl4pPr marL="614363" indent="-155575" defTabSz="895350">
                  <a:buSzPct val="120000"/>
                  <a:buChar char="▫"/>
                  <a:defRPr sz="1600">
                    <a:latin typeface="+mn-lt"/>
                  </a:defRPr>
                </a:lvl4pPr>
                <a:lvl5pPr marL="746125" indent="-130175" defTabSz="895350">
                  <a:buSzPct val="89000"/>
                  <a:buChar char="-"/>
                  <a:defRPr sz="1600">
                    <a:latin typeface="+mn-lt"/>
                  </a:defRPr>
                </a:lvl5pPr>
                <a:lvl6pPr marL="12033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latin typeface="+mn-lt"/>
                  </a:defRPr>
                </a:lvl6pPr>
                <a:lvl7pPr marL="16605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latin typeface="+mn-lt"/>
                  </a:defRPr>
                </a:lvl7pPr>
                <a:lvl8pPr marL="21177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latin typeface="+mn-lt"/>
                  </a:defRPr>
                </a:lvl8pPr>
                <a:lvl9pPr marL="25749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latin typeface="+mn-lt"/>
                  </a:defRPr>
                </a:lvl9pPr>
              </a:lstStyle>
              <a:p>
                <a:pPr marL="1620" marR="0" lvl="1" indent="0" algn="l" defTabSz="913526" rtl="0" eaLnBrk="0" fontAlgn="base" latinLnBrk="0" hangingPunct="0">
                  <a:lnSpc>
                    <a:spcPct val="100000"/>
                  </a:lnSpc>
                  <a:spcBef>
                    <a:spcPct val="3000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Tx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  <a:p>
                <a:pPr marL="1620" marR="0" lvl="1" indent="0" algn="l" defTabSz="913526" rtl="0" eaLnBrk="0" fontAlgn="base" latinLnBrk="0" hangingPunct="0">
                  <a:lnSpc>
                    <a:spcPct val="100000"/>
                  </a:lnSpc>
                  <a:spcBef>
                    <a:spcPct val="3000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  <a:p>
                <a:pPr marL="1620" marR="0" lvl="1" indent="0" algn="l" defTabSz="913526" rtl="0" eaLnBrk="0" fontAlgn="base" latinLnBrk="0" hangingPunct="0">
                  <a:lnSpc>
                    <a:spcPct val="100000"/>
                  </a:lnSpc>
                  <a:spcBef>
                    <a:spcPct val="3000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  <a:p>
                <a:pPr marL="1620" marR="0" lvl="1" indent="0" algn="l" defTabSz="913526" rtl="0" eaLnBrk="0" fontAlgn="base" latinLnBrk="0" hangingPunct="0">
                  <a:lnSpc>
                    <a:spcPct val="100000"/>
                  </a:lnSpc>
                  <a:spcBef>
                    <a:spcPct val="3000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  <a:p>
                <a:pPr marL="1620" marR="0" lvl="1" indent="0" algn="l" defTabSz="913526" rtl="0" eaLnBrk="0" fontAlgn="base" latinLnBrk="0" hangingPunct="0">
                  <a:lnSpc>
                    <a:spcPct val="100000"/>
                  </a:lnSpc>
                  <a:spcBef>
                    <a:spcPct val="3000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  <a:p>
                <a:pPr marL="1620" marR="0" lvl="1" indent="0" algn="l" defTabSz="913526" rtl="0" eaLnBrk="0" fontAlgn="base" latinLnBrk="0" hangingPunct="0">
                  <a:lnSpc>
                    <a:spcPct val="100000"/>
                  </a:lnSpc>
                  <a:spcBef>
                    <a:spcPct val="3000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  <a:p>
                <a:pPr marL="1620" marR="0" lvl="1" indent="0" algn="l" defTabSz="913526" rtl="0" eaLnBrk="0" fontAlgn="base" latinLnBrk="0" hangingPunct="0">
                  <a:lnSpc>
                    <a:spcPct val="100000"/>
                  </a:lnSpc>
                  <a:spcBef>
                    <a:spcPct val="3000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  <a:p>
                <a:pPr marL="1620" marR="0" lvl="1" indent="0" algn="l" defTabSz="913526" rtl="0" eaLnBrk="0" fontAlgn="base" latinLnBrk="0" hangingPunct="0">
                  <a:lnSpc>
                    <a:spcPct val="100000"/>
                  </a:lnSpc>
                  <a:spcBef>
                    <a:spcPct val="3000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B7F82130-E449-4C05-8878-E25C1821540D}"/>
              </a:ext>
            </a:extLst>
          </p:cNvPr>
          <p:cNvSpPr/>
          <p:nvPr/>
        </p:nvSpPr>
        <p:spPr>
          <a:xfrm>
            <a:off x="838200" y="3059668"/>
            <a:ext cx="27505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68275" marR="0" lvl="0" indent="-1682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xistence of Costed CNAP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E83BD59-E9CE-40E6-AFB3-389B0460B203}"/>
              </a:ext>
            </a:extLst>
          </p:cNvPr>
          <p:cNvSpPr/>
          <p:nvPr/>
        </p:nvSpPr>
        <p:spPr>
          <a:xfrm>
            <a:off x="4785561" y="1823254"/>
            <a:ext cx="199926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trition Sensitiv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87E0C95-25A8-4FE6-AACA-257F7B3F47EE}"/>
              </a:ext>
            </a:extLst>
          </p:cNvPr>
          <p:cNvSpPr/>
          <p:nvPr/>
        </p:nvSpPr>
        <p:spPr>
          <a:xfrm>
            <a:off x="8235788" y="2873435"/>
            <a:ext cx="3331126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66688" marR="0" lvl="0" indent="-1190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utrition Capacity Assessments Conducted </a:t>
            </a:r>
          </a:p>
          <a:p>
            <a:pPr marL="166688" marR="0" lvl="0" indent="-1190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acilities submitting timely reports / submitting complete report   713 and   733</a:t>
            </a:r>
          </a:p>
        </p:txBody>
      </p:sp>
      <p:sp>
        <p:nvSpPr>
          <p:cNvPr id="22" name="Content Placeholder 12">
            <a:extLst>
              <a:ext uri="{FF2B5EF4-FFF2-40B4-BE49-F238E27FC236}">
                <a16:creationId xmlns:a16="http://schemas.microsoft.com/office/drawing/2014/main" id="{E728CE26-1C37-4143-9BD7-529F8955CB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2625" y="865390"/>
            <a:ext cx="8645121" cy="372022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2000" b="1" dirty="0">
                <a:cs typeface="Arial" panose="020B0604020202020204" pitchFamily="34" charset="0"/>
              </a:rPr>
              <a:t>Sub National Categories and indicators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6664A6B4-2DAB-49F1-8F22-482ACD7DF605}"/>
              </a:ext>
            </a:extLst>
          </p:cNvPr>
          <p:cNvSpPr txBox="1">
            <a:spLocks/>
          </p:cNvSpPr>
          <p:nvPr/>
        </p:nvSpPr>
        <p:spPr>
          <a:xfrm>
            <a:off x="648931" y="164187"/>
            <a:ext cx="11189113" cy="58308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rgbClr val="0099FF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</a:rPr>
              <a:t>The Kenyan  Nutrition scorecard  indicators</a:t>
            </a:r>
            <a:endParaRPr kumimoji="0" lang="fr-CH" sz="2800" b="1" i="1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 panose="020F0502020204030204"/>
              <a:ea typeface="Arial" charset="0"/>
              <a:cs typeface="Cambria"/>
            </a:endParaRPr>
          </a:p>
        </p:txBody>
      </p:sp>
    </p:spTree>
    <p:extLst>
      <p:ext uri="{BB962C8B-B14F-4D97-AF65-F5344CB8AC3E}">
        <p14:creationId xmlns:p14="http://schemas.microsoft.com/office/powerpoint/2010/main" val="28043515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AA0D1-5759-4370-930A-D069386B297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90841"/>
            <a:ext cx="9144000" cy="419056"/>
          </a:xfrm>
        </p:spPr>
        <p:txBody>
          <a:bodyPr/>
          <a:lstStyle/>
          <a:p>
            <a:r>
              <a:rPr lang="en-US" sz="3200" b="1" dirty="0">
                <a:solidFill>
                  <a:srgbClr val="0070C0"/>
                </a:solidFill>
                <a:latin typeface="Calibri" panose="020F0502020204030204"/>
              </a:rPr>
              <a:t>KENYA NUTRITION SCORECARD</a:t>
            </a:r>
            <a:r>
              <a:rPr lang="en-US" sz="3200" b="1" dirty="0">
                <a:solidFill>
                  <a:srgbClr val="0070C0"/>
                </a:solidFill>
              </a:rPr>
              <a:t>: </a:t>
            </a:r>
            <a:r>
              <a:rPr lang="en-US" sz="2400" b="1" dirty="0">
                <a:solidFill>
                  <a:srgbClr val="0070C0"/>
                </a:solidFill>
              </a:rPr>
              <a:t>(Q2/2020</a:t>
            </a:r>
            <a:r>
              <a:rPr lang="en-US" sz="3200" b="1" dirty="0">
                <a:solidFill>
                  <a:srgbClr val="0070C0"/>
                </a:solidFill>
              </a:rPr>
              <a:t>)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85663C9-9A00-425D-B99A-CEB97360C75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B0A72E1-C02D-44B3-8689-11E4344A43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2462" y="976312"/>
            <a:ext cx="10887075" cy="5490847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91563896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9"/>
          <p:cNvSpPr>
            <a:spLocks noChangeArrowheads="1"/>
          </p:cNvSpPr>
          <p:nvPr/>
        </p:nvSpPr>
        <p:spPr bwMode="gray">
          <a:xfrm>
            <a:off x="1645753" y="1064801"/>
            <a:ext cx="6845024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marL="342900" indent="-342900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44463" indent="-142875" defTabSz="89535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947738" defTabSz="895350">
              <a:buSzPct val="120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1141413" defTabSz="895350">
              <a:buSzPct val="12000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1441450" defTabSz="895350">
              <a:buSzPct val="8900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144145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144145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144145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144145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 algn="ctr" fontAlgn="base">
              <a:spcBef>
                <a:spcPct val="20000"/>
              </a:spcBef>
              <a:spcAft>
                <a:spcPct val="0"/>
              </a:spcAft>
              <a:buClr>
                <a:srgbClr val="352A49"/>
              </a:buClr>
              <a:buSzPct val="80000"/>
              <a:buFont typeface="Wingdings" pitchFamily="2" charset="2"/>
              <a:buNone/>
            </a:pPr>
            <a:endParaRPr lang="en-US" sz="1800" b="1" dirty="0">
              <a:solidFill>
                <a:srgbClr val="0070C0"/>
              </a:solidFill>
              <a:cs typeface="Arial" charset="0"/>
            </a:endParaRPr>
          </a:p>
        </p:txBody>
      </p:sp>
      <p:sp>
        <p:nvSpPr>
          <p:cNvPr id="9" name="Rectangle 8"/>
          <p:cNvSpPr>
            <a:spLocks/>
          </p:cNvSpPr>
          <p:nvPr/>
        </p:nvSpPr>
        <p:spPr>
          <a:xfrm>
            <a:off x="1524270" y="909195"/>
            <a:ext cx="9175776" cy="141647"/>
          </a:xfrm>
          <a:prstGeom prst="rect">
            <a:avLst/>
          </a:prstGeom>
          <a:gradFill>
            <a:gsLst>
              <a:gs pos="100000">
                <a:srgbClr val="F1EEEB">
                  <a:alpha val="0"/>
                </a:srgbClr>
              </a:gs>
              <a:gs pos="0">
                <a:srgbClr val="ECEBE9">
                  <a:alpha val="74000"/>
                  <a:lumMod val="76000"/>
                </a:srgbClr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Arial" charset="0"/>
              <a:buChar char="▪"/>
            </a:pPr>
            <a:endParaRPr lang="en-US" sz="1200" b="1" dirty="0">
              <a:solidFill>
                <a:srgbClr val="000000"/>
              </a:solidFill>
            </a:endParaRP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Arial" charset="0"/>
              <a:buChar char="▪"/>
            </a:pP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12" name="TextBox 11"/>
          <p:cNvSpPr txBox="1">
            <a:spLocks/>
          </p:cNvSpPr>
          <p:nvPr/>
        </p:nvSpPr>
        <p:spPr>
          <a:xfrm>
            <a:off x="428174" y="1110465"/>
            <a:ext cx="6845024" cy="5565431"/>
          </a:xfrm>
          <a:prstGeom prst="rect">
            <a:avLst/>
          </a:prstGeom>
          <a:solidFill>
            <a:srgbClr val="CCFFFF"/>
          </a:solidFill>
        </p:spPr>
        <p:txBody>
          <a:bodyPr vert="horz" wrap="square" lIns="93297" tIns="46649" rIns="93297" bIns="46649" rtlCol="0">
            <a:noAutofit/>
          </a:bodyPr>
          <a:lstStyle>
            <a:lvl1pPr marL="0" lvl="0" indent="0" defTabSz="895350">
              <a:buFontTx/>
              <a:buNone/>
              <a:defRPr sz="1600">
                <a:latin typeface="+mn-lt"/>
              </a:defRPr>
            </a:lvl1pPr>
            <a:lvl2pPr marL="193675" lvl="1" indent="-192088" defTabSz="895350">
              <a:defRPr sz="1600">
                <a:latin typeface="+mn-lt"/>
              </a:defRPr>
            </a:lvl2pPr>
            <a:lvl3pPr marL="457200" lvl="2" indent="-261938" defTabSz="895350">
              <a:buSzPct val="120000"/>
              <a:buChar char="–"/>
              <a:defRPr sz="1600">
                <a:latin typeface="+mn-lt"/>
              </a:defRPr>
            </a:lvl3pPr>
            <a:lvl4pPr marL="614363" lvl="3" indent="-155575" defTabSz="895350">
              <a:buSzPct val="120000"/>
              <a:buChar char="▫"/>
              <a:defRPr sz="1600">
                <a:latin typeface="+mn-lt"/>
              </a:defRPr>
            </a:lvl4pPr>
            <a:lvl5pPr marL="746125" lvl="4" indent="-130175" defTabSz="895350">
              <a:buSzPct val="8900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 eaLnBrk="0" fontAlgn="base" hangingPunct="0">
              <a:spcBef>
                <a:spcPts val="612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r>
              <a:rPr lang="en-US" sz="2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ccess</a:t>
            </a:r>
          </a:p>
          <a:p>
            <a:pPr marL="342900" indent="-342900" eaLnBrk="0" fontAlgn="base" hangingPunct="0">
              <a:spcBef>
                <a:spcPts val="612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rgbClr val="000000"/>
                </a:solidFill>
                <a:latin typeface="Calibri"/>
              </a:rPr>
              <a:t>Development of country Nutrition scorecard (26 indicators) </a:t>
            </a:r>
          </a:p>
          <a:p>
            <a:pPr marL="342900" indent="-342900" eaLnBrk="0" fontAlgn="base" hangingPunct="0">
              <a:spcBef>
                <a:spcPts val="612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rgbClr val="000000"/>
                </a:solidFill>
                <a:latin typeface="Calibri"/>
              </a:rPr>
              <a:t>Training and roll out to 19 counties </a:t>
            </a:r>
          </a:p>
          <a:p>
            <a:pPr marL="342900" indent="-342900" eaLnBrk="0" fontAlgn="base" hangingPunct="0">
              <a:spcBef>
                <a:spcPts val="612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rgbClr val="000000"/>
                </a:solidFill>
                <a:latin typeface="Calibri"/>
              </a:rPr>
              <a:t>Counties updating the nutrition scorecard up to facility level </a:t>
            </a:r>
          </a:p>
          <a:p>
            <a:pPr eaLnBrk="0" fontAlgn="base" hangingPunct="0">
              <a:spcBef>
                <a:spcPts val="612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endParaRPr lang="en-GB" sz="20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3" name="TextBox 12"/>
          <p:cNvSpPr txBox="1">
            <a:spLocks/>
          </p:cNvSpPr>
          <p:nvPr/>
        </p:nvSpPr>
        <p:spPr>
          <a:xfrm>
            <a:off x="1524000" y="4295968"/>
            <a:ext cx="6845024" cy="989895"/>
          </a:xfrm>
          <a:prstGeom prst="rect">
            <a:avLst/>
          </a:prstGeom>
        </p:spPr>
        <p:txBody>
          <a:bodyPr vert="horz" wrap="square" lIns="93297" tIns="46649" rIns="93297" bIns="46649" rtlCol="0">
            <a:noAutofit/>
          </a:bodyPr>
          <a:lstStyle>
            <a:lvl1pPr marL="0" lvl="0" indent="0" defTabSz="895350">
              <a:buFontTx/>
              <a:buNone/>
              <a:defRPr sz="1600">
                <a:latin typeface="+mn-lt"/>
              </a:defRPr>
            </a:lvl1pPr>
            <a:lvl2pPr marL="193675" lvl="1" indent="-192088" defTabSz="895350">
              <a:defRPr sz="1600">
                <a:latin typeface="+mn-lt"/>
              </a:defRPr>
            </a:lvl2pPr>
            <a:lvl3pPr marL="457200" lvl="2" indent="-261938" defTabSz="895350">
              <a:buSzPct val="120000"/>
              <a:buChar char="–"/>
              <a:defRPr sz="1600">
                <a:latin typeface="+mn-lt"/>
              </a:defRPr>
            </a:lvl3pPr>
            <a:lvl4pPr marL="614363" lvl="3" indent="-155575" defTabSz="895350">
              <a:buSzPct val="120000"/>
              <a:buChar char="▫"/>
              <a:defRPr sz="1600">
                <a:latin typeface="+mn-lt"/>
              </a:defRPr>
            </a:lvl4pPr>
            <a:lvl5pPr marL="746125" lvl="4" indent="-130175" defTabSz="895350">
              <a:buSzPct val="8900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 eaLnBrk="0" fontAlgn="base" hangingPunct="0">
              <a:spcBef>
                <a:spcPts val="612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endParaRPr lang="en-GB" sz="1428" dirty="0">
              <a:solidFill>
                <a:srgbClr val="000000"/>
              </a:solidFill>
            </a:endParaRPr>
          </a:p>
        </p:txBody>
      </p:sp>
      <p:sp>
        <p:nvSpPr>
          <p:cNvPr id="14" name="TextBox 13"/>
          <p:cNvSpPr txBox="1">
            <a:spLocks/>
          </p:cNvSpPr>
          <p:nvPr/>
        </p:nvSpPr>
        <p:spPr>
          <a:xfrm>
            <a:off x="7540487" y="1190412"/>
            <a:ext cx="4331395" cy="340695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93297" tIns="46649" rIns="93297" bIns="46649" rtlCol="0">
            <a:noAutofit/>
          </a:bodyPr>
          <a:lstStyle>
            <a:lvl1pPr marL="0" lvl="0" indent="0" defTabSz="895350">
              <a:buFontTx/>
              <a:buNone/>
              <a:defRPr sz="1600">
                <a:latin typeface="+mn-lt"/>
              </a:defRPr>
            </a:lvl1pPr>
            <a:lvl2pPr marL="193675" lvl="1" indent="-192088" defTabSz="895350">
              <a:defRPr sz="1600">
                <a:latin typeface="+mn-lt"/>
              </a:defRPr>
            </a:lvl2pPr>
            <a:lvl3pPr marL="457200" lvl="2" indent="-261938" defTabSz="895350">
              <a:buSzPct val="120000"/>
              <a:buChar char="–"/>
              <a:defRPr sz="1600">
                <a:latin typeface="+mn-lt"/>
              </a:defRPr>
            </a:lvl3pPr>
            <a:lvl4pPr marL="614363" lvl="3" indent="-155575" defTabSz="895350">
              <a:buSzPct val="120000"/>
              <a:buChar char="▫"/>
              <a:defRPr sz="1600">
                <a:latin typeface="+mn-lt"/>
              </a:defRPr>
            </a:lvl4pPr>
            <a:lvl5pPr marL="746125" lvl="4" indent="-130175" defTabSz="895350">
              <a:buSzPct val="8900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 eaLnBrk="0" fontAlgn="base" hangingPunct="0">
              <a:spcBef>
                <a:spcPts val="612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endParaRPr lang="en-US" sz="1000" b="1" dirty="0">
              <a:solidFill>
                <a:srgbClr val="000000"/>
              </a:solidFill>
              <a:latin typeface="Calibri"/>
            </a:endParaRPr>
          </a:p>
          <a:p>
            <a:pPr eaLnBrk="0" fontAlgn="base" hangingPunct="0">
              <a:spcBef>
                <a:spcPts val="612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r>
              <a:rPr lang="en-US" sz="2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llenges </a:t>
            </a:r>
          </a:p>
          <a:p>
            <a:pPr eaLnBrk="0" fontAlgn="base" hangingPunct="0">
              <a:spcBef>
                <a:spcPts val="612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endParaRPr lang="en-US" sz="1000" b="1" dirty="0">
              <a:solidFill>
                <a:srgbClr val="000000"/>
              </a:solidFill>
              <a:latin typeface="Calibri"/>
            </a:endParaRPr>
          </a:p>
          <a:p>
            <a:pPr marL="285750" indent="-285750" eaLnBrk="0" fontAlgn="base" hangingPunct="0">
              <a:spcBef>
                <a:spcPts val="612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  <a:latin typeface="Calibri"/>
              </a:rPr>
              <a:t>Data gaps and quality of data available from routine system</a:t>
            </a:r>
          </a:p>
          <a:p>
            <a:pPr marL="285750" indent="-285750" eaLnBrk="0" fontAlgn="base" hangingPunct="0">
              <a:spcBef>
                <a:spcPts val="612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  <a:latin typeface="Calibri"/>
              </a:rPr>
              <a:t>Difficulties in setting some of the thresholds due to wide variation of county performance &amp; lack of global thresholds</a:t>
            </a:r>
          </a:p>
          <a:p>
            <a:pPr eaLnBrk="0" fontAlgn="base" hangingPunct="0">
              <a:spcBef>
                <a:spcPts val="612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  </a:t>
            </a:r>
          </a:p>
          <a:p>
            <a:pPr eaLnBrk="0" fontAlgn="base" hangingPunct="0">
              <a:spcBef>
                <a:spcPts val="612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endParaRPr lang="en-US" dirty="0">
              <a:solidFill>
                <a:srgbClr val="000000"/>
              </a:solidFill>
            </a:endParaRPr>
          </a:p>
          <a:p>
            <a:pPr eaLnBrk="0" fontAlgn="base" hangingPunct="0">
              <a:spcBef>
                <a:spcPts val="612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9" name="Title 28"/>
          <p:cNvSpPr>
            <a:spLocks noGrp="1"/>
          </p:cNvSpPr>
          <p:nvPr>
            <p:ph type="title"/>
          </p:nvPr>
        </p:nvSpPr>
        <p:spPr>
          <a:xfrm>
            <a:off x="1645754" y="327629"/>
            <a:ext cx="8241411" cy="677108"/>
          </a:xfrm>
        </p:spPr>
        <p:txBody>
          <a:bodyPr/>
          <a:lstStyle/>
          <a:p>
            <a:pPr algn="ctr"/>
            <a:r>
              <a:rPr lang="en-GB" sz="3200" b="1" dirty="0">
                <a:solidFill>
                  <a:srgbClr val="0070C0"/>
                </a:solidFill>
                <a:latin typeface="Calibri" panose="020F0502020204030204"/>
              </a:rPr>
              <a:t>Development Process- Experiences</a:t>
            </a:r>
            <a:endParaRPr lang="en-US" sz="3200" b="1" dirty="0">
              <a:latin typeface="Calibri" panose="020F0502020204030204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23E10EB-70D1-4F91-85C2-F8A9552ACB3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8800"/>
                    </a14:imgEffect>
                  </a14:imgLayer>
                </a14:imgProps>
              </a:ext>
            </a:extLst>
          </a:blip>
          <a:srcRect l="12491" t="29472" r="45917" b="9777"/>
          <a:stretch/>
        </p:blipFill>
        <p:spPr>
          <a:xfrm>
            <a:off x="10870018" y="1190412"/>
            <a:ext cx="975360" cy="798622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6F20EADB-D1AA-47F7-88FE-71EDFC484FCA}"/>
              </a:ext>
            </a:extLst>
          </p:cNvPr>
          <p:cNvSpPr txBox="1">
            <a:spLocks/>
          </p:cNvSpPr>
          <p:nvPr/>
        </p:nvSpPr>
        <p:spPr>
          <a:xfrm>
            <a:off x="428174" y="2789590"/>
            <a:ext cx="6845024" cy="3568257"/>
          </a:xfrm>
          <a:prstGeom prst="rect">
            <a:avLst/>
          </a:prstGeom>
          <a:solidFill>
            <a:srgbClr val="CCFFFF"/>
          </a:solidFill>
        </p:spPr>
        <p:txBody>
          <a:bodyPr vert="horz" wrap="square" lIns="93297" tIns="46649" rIns="93297" bIns="46649" rtlCol="0">
            <a:noAutofit/>
          </a:bodyPr>
          <a:lstStyle>
            <a:lvl1pPr marL="0" lvl="0" indent="0" defTabSz="895350">
              <a:buFontTx/>
              <a:buNone/>
              <a:defRPr sz="1600">
                <a:latin typeface="+mn-lt"/>
              </a:defRPr>
            </a:lvl1pPr>
            <a:lvl2pPr marL="193675" lvl="1" indent="-192088" defTabSz="895350">
              <a:defRPr sz="1600">
                <a:latin typeface="+mn-lt"/>
              </a:defRPr>
            </a:lvl2pPr>
            <a:lvl3pPr marL="457200" lvl="2" indent="-261938" defTabSz="895350">
              <a:buSzPct val="120000"/>
              <a:buChar char="–"/>
              <a:defRPr sz="1600">
                <a:latin typeface="+mn-lt"/>
              </a:defRPr>
            </a:lvl3pPr>
            <a:lvl4pPr marL="614363" lvl="3" indent="-155575" defTabSz="895350">
              <a:buSzPct val="120000"/>
              <a:buChar char="▫"/>
              <a:defRPr sz="1600">
                <a:latin typeface="+mn-lt"/>
              </a:defRPr>
            </a:lvl4pPr>
            <a:lvl5pPr marL="746125" lvl="4" indent="-130175" defTabSz="895350">
              <a:buSzPct val="8900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 eaLnBrk="0" fontAlgn="base" hangingPunct="0">
              <a:spcBef>
                <a:spcPts val="612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r>
              <a:rPr lang="en-US" sz="2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learning from counties</a:t>
            </a:r>
          </a:p>
          <a:p>
            <a:pPr marL="285750" indent="-285750" defTabSz="914400" eaLnBrk="0" fontAlgn="base" hangingPunct="0">
              <a:spcBef>
                <a:spcPts val="612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Arial" panose="020B0604020202020204" pitchFamily="34" charset="0"/>
              <a:buChar char="•"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 scorecard stimulate discussions – data gaps, tools availability, deep dive </a:t>
            </a:r>
            <a:r>
              <a:rPr lang="en-US" sz="2000" b="1" dirty="0">
                <a:solidFill>
                  <a:srgbClr val="000000"/>
                </a:solidFill>
              </a:rPr>
              <a:t>Marsabit –; Flagging ‘</a:t>
            </a:r>
            <a:r>
              <a:rPr lang="en-US" sz="2000" b="1" i="1" dirty="0">
                <a:solidFill>
                  <a:srgbClr val="000000"/>
                </a:solidFill>
              </a:rPr>
              <a:t>data speaks’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  <a:p>
            <a:pPr marL="285750" indent="-285750" defTabSz="914400" eaLnBrk="0" fontAlgn="base" hangingPunct="0">
              <a:spcBef>
                <a:spcPts val="612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Arial" panose="020B0604020202020204" pitchFamily="34" charset="0"/>
              <a:buChar char="•"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apacity strengthening to sustain use of the </a:t>
            </a:r>
            <a:r>
              <a:rPr lang="en-US" sz="2000" dirty="0">
                <a:solidFill>
                  <a:srgbClr val="000000"/>
                </a:solidFill>
              </a:rPr>
              <a:t>tool </a:t>
            </a:r>
          </a:p>
          <a:p>
            <a:pPr marL="285750" indent="-285750" defTabSz="914400" eaLnBrk="0" fontAlgn="base" hangingPunct="0">
              <a:spcBef>
                <a:spcPts val="612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solidFill>
                  <a:srgbClr val="000000"/>
                </a:solidFill>
              </a:rPr>
              <a:t> Mobilize resources to support more sensitization and Training</a:t>
            </a:r>
          </a:p>
          <a:p>
            <a:pPr lvl="2" defTabSz="914400" eaLnBrk="0" fontAlgn="base" hangingPunct="0">
              <a:spcBef>
                <a:spcPts val="612"/>
              </a:spcBef>
              <a:spcAft>
                <a:spcPct val="0"/>
              </a:spcAft>
              <a:buClr>
                <a:srgbClr val="002960"/>
              </a:buClr>
              <a:buSzPct val="125000"/>
              <a:defRPr/>
            </a:pPr>
            <a:r>
              <a:rPr lang="en-US" sz="2000" b="1" dirty="0">
                <a:solidFill>
                  <a:srgbClr val="000000"/>
                </a:solidFill>
              </a:rPr>
              <a:t>Kisumu, Kilifi and Marsabit </a:t>
            </a:r>
            <a:endParaRPr lang="en-US" sz="2000" dirty="0">
              <a:solidFill>
                <a:srgbClr val="000000"/>
              </a:solidFill>
            </a:endParaRPr>
          </a:p>
          <a:p>
            <a:pPr marL="285750" indent="-285750" defTabSz="914400" eaLnBrk="0" fontAlgn="base" hangingPunct="0">
              <a:spcBef>
                <a:spcPts val="612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solidFill>
                  <a:srgbClr val="000000"/>
                </a:solidFill>
              </a:rPr>
              <a:t>Strengthening of existing tools and mechanisms and highlighting </a:t>
            </a:r>
            <a:r>
              <a:rPr lang="en-US" sz="2000" b="1" dirty="0">
                <a:solidFill>
                  <a:srgbClr val="002960"/>
                </a:solidFill>
              </a:rPr>
              <a:t>need for more data and better quality data</a:t>
            </a:r>
            <a:endParaRPr lang="en-US" sz="2000" dirty="0">
              <a:solidFill>
                <a:srgbClr val="000000"/>
              </a:solidFill>
            </a:endParaRPr>
          </a:p>
          <a:p>
            <a:pPr marL="285750" indent="-285750" defTabSz="914400" eaLnBrk="0" fontAlgn="base" hangingPunct="0">
              <a:spcBef>
                <a:spcPts val="612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solidFill>
                  <a:srgbClr val="000000"/>
                </a:solidFill>
              </a:rPr>
              <a:t>Ownership-  wide dissemination - various stakeholders to facilitate action</a:t>
            </a:r>
          </a:p>
          <a:p>
            <a:pPr marL="285750" indent="-285750" defTabSz="914400" eaLnBrk="0" fontAlgn="base" hangingPunct="0">
              <a:spcBef>
                <a:spcPts val="612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Arial" panose="020B0604020202020204" pitchFamily="34" charset="0"/>
              <a:buChar char="•"/>
              <a:defRPr/>
            </a:pPr>
            <a:endParaRPr lang="en-US" sz="2000" dirty="0">
              <a:solidFill>
                <a:srgbClr val="000000"/>
              </a:solidFill>
            </a:endParaRPr>
          </a:p>
          <a:p>
            <a:pPr marL="285750" indent="-285750" defTabSz="914400" eaLnBrk="0" fontAlgn="base" hangingPunct="0">
              <a:spcBef>
                <a:spcPts val="612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Arial" panose="020B0604020202020204" pitchFamily="34" charset="0"/>
              <a:buChar char="•"/>
              <a:defRPr/>
            </a:pPr>
            <a:endParaRPr lang="en-US" sz="2000" dirty="0">
              <a:solidFill>
                <a:srgbClr val="000000"/>
              </a:solidFill>
            </a:endParaRP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ts val="612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eaLnBrk="0" fontAlgn="base" hangingPunct="0">
              <a:spcBef>
                <a:spcPts val="612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r>
              <a:rPr lang="en-US" sz="2000" b="1" dirty="0">
                <a:solidFill>
                  <a:srgbClr val="000000"/>
                </a:solidFill>
                <a:latin typeface="Calibri"/>
              </a:rPr>
              <a:t> </a:t>
            </a:r>
          </a:p>
          <a:p>
            <a:pPr eaLnBrk="0" fontAlgn="base" hangingPunct="0">
              <a:spcBef>
                <a:spcPts val="612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endParaRPr lang="en-GB" sz="2000" b="1" dirty="0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F182B58-6B85-4453-A60B-7CD46E3FA75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2917" t="32000" r="56333" b="32964"/>
          <a:stretch/>
        </p:blipFill>
        <p:spPr>
          <a:xfrm>
            <a:off x="6010852" y="1150221"/>
            <a:ext cx="1235842" cy="1173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134245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24271" y="1"/>
          <a:ext cx="161976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271" y="1"/>
                        <a:ext cx="161976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555" name="Rectangle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1645754" y="234866"/>
            <a:ext cx="8130687" cy="44319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3200" b="1" dirty="0">
                <a:solidFill>
                  <a:srgbClr val="0070C0"/>
                </a:solidFill>
                <a:latin typeface="Calibri" panose="020F0502020204030204"/>
              </a:rPr>
              <a:t>Next Steps</a:t>
            </a:r>
          </a:p>
        </p:txBody>
      </p:sp>
      <p:sp>
        <p:nvSpPr>
          <p:cNvPr id="42" name="Rectangle 41"/>
          <p:cNvSpPr>
            <a:spLocks/>
          </p:cNvSpPr>
          <p:nvPr/>
        </p:nvSpPr>
        <p:spPr>
          <a:xfrm>
            <a:off x="1524270" y="1027630"/>
            <a:ext cx="9175776" cy="141647"/>
          </a:xfrm>
          <a:prstGeom prst="rect">
            <a:avLst/>
          </a:prstGeom>
          <a:gradFill>
            <a:gsLst>
              <a:gs pos="100000">
                <a:srgbClr val="F1EEEB">
                  <a:alpha val="0"/>
                </a:srgbClr>
              </a:gs>
              <a:gs pos="0">
                <a:srgbClr val="ECEBE9">
                  <a:alpha val="74000"/>
                  <a:lumMod val="76000"/>
                </a:srgbClr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Arial" charset="0"/>
              <a:buChar char="▪"/>
            </a:pPr>
            <a:endParaRPr lang="en-US" sz="1428" b="1" dirty="0">
              <a:solidFill>
                <a:srgbClr val="000000"/>
              </a:solidFill>
            </a:endParaRPr>
          </a:p>
        </p:txBody>
      </p:sp>
      <p:grpSp>
        <p:nvGrpSpPr>
          <p:cNvPr id="43" name="Group 42"/>
          <p:cNvGrpSpPr/>
          <p:nvPr/>
        </p:nvGrpSpPr>
        <p:grpSpPr>
          <a:xfrm>
            <a:off x="5923103" y="880381"/>
            <a:ext cx="345794" cy="289986"/>
            <a:chOff x="4566047" y="1436986"/>
            <a:chExt cx="338910" cy="338909"/>
          </a:xfrm>
        </p:grpSpPr>
        <p:sp>
          <p:nvSpPr>
            <p:cNvPr id="45" name="Oval 44"/>
            <p:cNvSpPr/>
            <p:nvPr/>
          </p:nvSpPr>
          <p:spPr bwMode="gray">
            <a:xfrm>
              <a:off x="4566047" y="1436986"/>
              <a:ext cx="338910" cy="338909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25000"/>
                <a:buFont typeface="Arial" charset="0"/>
                <a:buChar char="▪"/>
              </a:pPr>
              <a:endParaRPr lang="en-US" sz="1020" b="1" dirty="0">
                <a:solidFill>
                  <a:srgbClr val="000000"/>
                </a:solidFill>
              </a:endParaRPr>
            </a:p>
          </p:txBody>
        </p:sp>
        <p:grpSp>
          <p:nvGrpSpPr>
            <p:cNvPr id="46" name="Group 45"/>
            <p:cNvGrpSpPr/>
            <p:nvPr>
              <p:custDataLst>
                <p:tags r:id="rId5"/>
              </p:custDataLst>
            </p:nvPr>
          </p:nvGrpSpPr>
          <p:grpSpPr bwMode="gray">
            <a:xfrm>
              <a:off x="4612444" y="1503647"/>
              <a:ext cx="246116" cy="205582"/>
              <a:chOff x="5519452" y="3842652"/>
              <a:chExt cx="378904" cy="495782"/>
            </a:xfrm>
          </p:grpSpPr>
          <p:sp>
            <p:nvSpPr>
              <p:cNvPr id="47" name="Chevron 46"/>
              <p:cNvSpPr/>
              <p:nvPr/>
            </p:nvSpPr>
            <p:spPr bwMode="gray">
              <a:xfrm>
                <a:off x="5519452" y="3892550"/>
                <a:ext cx="192024" cy="395986"/>
              </a:xfrm>
              <a:prstGeom prst="chevron">
                <a:avLst>
                  <a:gd name="adj" fmla="val 37528"/>
                </a:avLst>
              </a:prstGeom>
              <a:gradFill>
                <a:gsLst>
                  <a:gs pos="0">
                    <a:schemeClr val="accent1"/>
                  </a:gs>
                  <a:gs pos="100000">
                    <a:schemeClr val="accent1">
                      <a:lumMod val="75000"/>
                    </a:schemeClr>
                  </a:gs>
                </a:gsLst>
                <a:lin ang="5400000" scaled="0"/>
              </a:gra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 typeface="Arial" charset="0"/>
                  <a:buChar char="▪"/>
                </a:pPr>
                <a:endParaRPr lang="en-US" sz="1020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Chevron 47"/>
              <p:cNvSpPr/>
              <p:nvPr/>
            </p:nvSpPr>
            <p:spPr bwMode="gray">
              <a:xfrm>
                <a:off x="5657938" y="3842652"/>
                <a:ext cx="240418" cy="495782"/>
              </a:xfrm>
              <a:prstGeom prst="chevron">
                <a:avLst>
                  <a:gd name="adj" fmla="val 37528"/>
                </a:avLst>
              </a:prstGeom>
              <a:gradFill flip="none" rotWithShape="1">
                <a:gsLst>
                  <a:gs pos="0">
                    <a:schemeClr val="accent2"/>
                  </a:gs>
                  <a:gs pos="100000">
                    <a:schemeClr val="accent2">
                      <a:lumMod val="75000"/>
                    </a:schemeClr>
                  </a:gs>
                </a:gsLst>
                <a:lin ang="5400000" scaled="1"/>
                <a:tileRect/>
              </a:gradFill>
              <a:ln w="19050">
                <a:noFill/>
              </a:ln>
              <a:effectLst/>
            </p:spPr>
            <p:txBody>
              <a:bodyPr wrap="square" lIns="74638" tIns="74638" rIns="74638" bIns="74638" anchor="ctr" anchorCtr="1">
                <a:noAutofit/>
              </a:bodyPr>
              <a:lstStyle/>
              <a:p>
                <a:pPr defTabSz="913526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 typeface="Arial" charset="0"/>
                  <a:buChar char="▪"/>
                </a:pPr>
                <a:endParaRPr lang="en-US" sz="1020" b="1" dirty="0">
                  <a:solidFill>
                    <a:srgbClr val="FFFFFF"/>
                  </a:solidFill>
                  <a:cs typeface="Arial" charset="0"/>
                </a:endParaRPr>
              </a:p>
            </p:txBody>
          </p:sp>
        </p:grpSp>
      </p:grpSp>
      <p:sp>
        <p:nvSpPr>
          <p:cNvPr id="49" name="TextBox 48"/>
          <p:cNvSpPr txBox="1">
            <a:spLocks/>
          </p:cNvSpPr>
          <p:nvPr/>
        </p:nvSpPr>
        <p:spPr>
          <a:xfrm>
            <a:off x="4028662" y="1237012"/>
            <a:ext cx="6930886" cy="5306610"/>
          </a:xfrm>
          <a:prstGeom prst="rect">
            <a:avLst/>
          </a:prstGeom>
        </p:spPr>
        <p:txBody>
          <a:bodyPr vert="horz" lIns="93297" tIns="46649" rIns="93297" bIns="46649" rtlCol="0">
            <a:noAutofit/>
          </a:bodyPr>
          <a:lstStyle>
            <a:lvl1pPr marL="0" lvl="0" indent="0" defTabSz="895350">
              <a:buFontTx/>
              <a:buNone/>
              <a:defRPr sz="1600">
                <a:latin typeface="+mn-lt"/>
              </a:defRPr>
            </a:lvl1pPr>
            <a:lvl2pPr marL="193675" lvl="1" indent="-192088" defTabSz="895350">
              <a:defRPr sz="1600">
                <a:latin typeface="+mn-lt"/>
              </a:defRPr>
            </a:lvl2pPr>
            <a:lvl3pPr marL="457200" lvl="2" indent="-261938" defTabSz="895350">
              <a:buSzPct val="120000"/>
              <a:buChar char="–"/>
              <a:defRPr sz="1600">
                <a:latin typeface="+mn-lt"/>
              </a:defRPr>
            </a:lvl3pPr>
            <a:lvl4pPr marL="614363" lvl="3" indent="-155575" defTabSz="895350">
              <a:buSzPct val="120000"/>
              <a:buChar char="▫"/>
              <a:defRPr sz="1600">
                <a:latin typeface="+mn-lt"/>
              </a:defRPr>
            </a:lvl4pPr>
            <a:lvl5pPr marL="746125" lvl="4" indent="-130175" defTabSz="895350">
              <a:buSzPct val="8900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 marL="195262" lvl="2" indent="0">
              <a:spcBef>
                <a:spcPct val="0"/>
              </a:spcBef>
              <a:buClr>
                <a:srgbClr val="002960"/>
              </a:buClr>
              <a:buSzPct val="125000"/>
              <a:buNone/>
            </a:pPr>
            <a:endParaRPr lang="en-US" sz="1800" dirty="0">
              <a:solidFill>
                <a:srgbClr val="000000"/>
              </a:solidFill>
            </a:endParaRPr>
          </a:p>
          <a:p>
            <a:pPr lvl="2">
              <a:spcBef>
                <a:spcPct val="0"/>
              </a:spcBef>
              <a:buClr>
                <a:srgbClr val="002960"/>
              </a:buClr>
              <a:buSzPct val="125000"/>
              <a:buFont typeface="Arial" panose="020B0604020202020204" pitchFamily="34" charset="0"/>
              <a:buChar char="▪"/>
            </a:pPr>
            <a:r>
              <a:rPr lang="en-US" altLang="en-US" sz="2400" dirty="0">
                <a:solidFill>
                  <a:srgbClr val="000000"/>
                </a:solidFill>
                <a:latin typeface="Calibri"/>
              </a:rPr>
              <a:t>Roll out the scorecard to 28 counties up to sub-county levels and promote wide dissemination </a:t>
            </a:r>
          </a:p>
          <a:p>
            <a:pPr lvl="2">
              <a:spcBef>
                <a:spcPct val="0"/>
              </a:spcBef>
              <a:buClr>
                <a:srgbClr val="002960"/>
              </a:buClr>
              <a:buSzPct val="125000"/>
              <a:buFont typeface="Arial" panose="020B0604020202020204" pitchFamily="34" charset="0"/>
              <a:buChar char="▪"/>
            </a:pPr>
            <a:endParaRPr lang="en-US" altLang="en-US" sz="2400" dirty="0">
              <a:solidFill>
                <a:srgbClr val="000000"/>
              </a:solidFill>
              <a:latin typeface="Calibri"/>
            </a:endParaRPr>
          </a:p>
          <a:p>
            <a:pPr marL="479425" lvl="1" indent="-285750" defTabSz="914400">
              <a:lnSpc>
                <a:spcPct val="90000"/>
              </a:lnSpc>
              <a:buFont typeface="Wingdings" panose="05000000000000000000" pitchFamily="2" charset="2"/>
              <a:buChar char="§"/>
              <a:defRPr/>
            </a:pPr>
            <a:r>
              <a:rPr lang="en-US" sz="2400" dirty="0">
                <a:solidFill>
                  <a:srgbClr val="000000"/>
                </a:solidFill>
                <a:latin typeface="Calibri"/>
              </a:rPr>
              <a:t>Tracking of performance and actions through visualization and action tracking functionalities for</a:t>
            </a:r>
            <a:r>
              <a:rPr lang="en-US" altLang="en-US" sz="2400" dirty="0">
                <a:solidFill>
                  <a:srgbClr val="000000"/>
                </a:solidFill>
                <a:latin typeface="Calibri"/>
              </a:rPr>
              <a:t> review . Publish the scorecard promote mutual dialogue among all key actors </a:t>
            </a:r>
          </a:p>
          <a:p>
            <a:pPr marL="195262" lvl="2" indent="0">
              <a:spcBef>
                <a:spcPct val="0"/>
              </a:spcBef>
              <a:buClr>
                <a:srgbClr val="002960"/>
              </a:buClr>
              <a:buSzPct val="125000"/>
              <a:buNone/>
            </a:pPr>
            <a:endParaRPr lang="en-US" altLang="en-US" sz="2400" dirty="0">
              <a:solidFill>
                <a:srgbClr val="000000"/>
              </a:solidFill>
              <a:latin typeface="Calibri"/>
            </a:endParaRPr>
          </a:p>
          <a:p>
            <a:pPr lvl="2">
              <a:spcBef>
                <a:spcPct val="0"/>
              </a:spcBef>
              <a:buClr>
                <a:srgbClr val="002960"/>
              </a:buClr>
              <a:buSzPct val="125000"/>
              <a:buFont typeface="Arial" panose="020B0604020202020204" pitchFamily="34" charset="0"/>
              <a:buChar char="▪"/>
            </a:pPr>
            <a:r>
              <a:rPr lang="en-US" altLang="en-US" sz="2400" dirty="0">
                <a:solidFill>
                  <a:srgbClr val="000000"/>
                </a:solidFill>
                <a:latin typeface="Calibri"/>
              </a:rPr>
              <a:t>Advocate for  National /County  </a:t>
            </a:r>
            <a:r>
              <a:rPr lang="en-US" sz="2400" dirty="0">
                <a:solidFill>
                  <a:srgbClr val="000000"/>
                </a:solidFill>
                <a:latin typeface="Calibri"/>
              </a:rPr>
              <a:t>level documentation of experiences and best practices across to promote cross learning</a:t>
            </a:r>
          </a:p>
          <a:p>
            <a:pPr marL="195262" lvl="2" indent="0">
              <a:spcBef>
                <a:spcPct val="0"/>
              </a:spcBef>
              <a:buClr>
                <a:srgbClr val="002960"/>
              </a:buClr>
              <a:buSzPct val="125000"/>
              <a:buNone/>
            </a:pPr>
            <a:r>
              <a:rPr lang="en-US" sz="1800" dirty="0">
                <a:solidFill>
                  <a:srgbClr val="000000"/>
                </a:solidFill>
              </a:rPr>
              <a:t> </a:t>
            </a:r>
          </a:p>
          <a:p>
            <a:pPr marL="195262" lvl="2" indent="0">
              <a:spcBef>
                <a:spcPct val="0"/>
              </a:spcBef>
              <a:buClr>
                <a:srgbClr val="002960"/>
              </a:buClr>
              <a:buSzPct val="125000"/>
              <a:buNone/>
            </a:pPr>
            <a:endParaRPr lang="en-US" altLang="en-US" sz="1800" dirty="0">
              <a:solidFill>
                <a:srgbClr val="000000"/>
              </a:solidFill>
            </a:endParaRPr>
          </a:p>
          <a:p>
            <a:pPr marL="195262" lvl="2" indent="0">
              <a:spcBef>
                <a:spcPct val="0"/>
              </a:spcBef>
              <a:buClr>
                <a:srgbClr val="002960"/>
              </a:buClr>
              <a:buSzPct val="125000"/>
              <a:buNone/>
            </a:pPr>
            <a:endParaRPr lang="en-US" sz="2400" dirty="0">
              <a:solidFill>
                <a:srgbClr val="000000"/>
              </a:solidFill>
            </a:endParaRPr>
          </a:p>
          <a:p>
            <a:pPr lvl="2">
              <a:spcBef>
                <a:spcPct val="0"/>
              </a:spcBef>
              <a:buClr>
                <a:srgbClr val="002960"/>
              </a:buClr>
              <a:buSzPct val="125000"/>
              <a:buFont typeface="Arial" panose="020B0604020202020204" pitchFamily="34" charset="0"/>
              <a:buChar char="▪"/>
            </a:pPr>
            <a:endParaRPr lang="en-US" sz="2400" dirty="0">
              <a:solidFill>
                <a:srgbClr val="000000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7AFC5EE-C10C-4329-996F-6F29B21C99E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98587" y="1828800"/>
            <a:ext cx="3125273" cy="409492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45C8DC7E-9C2A-40FA-B60E-F4563F8136F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17652" y="2001078"/>
            <a:ext cx="2906208" cy="3922644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86305077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2" descr="KENYAN LOGO">
            <a:extLst>
              <a:ext uri="{FF2B5EF4-FFF2-40B4-BE49-F238E27FC236}">
                <a16:creationId xmlns:a16="http://schemas.microsoft.com/office/drawing/2014/main" id="{4D77A1EC-F586-444B-9921-67205BCF47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532" y="1341629"/>
            <a:ext cx="1530221" cy="12789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C18E72B9-08AC-4A85-ABF3-97F00DE860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4880" y="5156869"/>
            <a:ext cx="2248981" cy="1009299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47053136-E67C-48FD-88C5-A45DEF734E1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66176" y="3840981"/>
            <a:ext cx="2807175" cy="783986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2971E80F-9A47-4FD4-8CEF-651EC5AC8E0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0458" t="32795" r="16719" b="39018"/>
          <a:stretch/>
        </p:blipFill>
        <p:spPr>
          <a:xfrm>
            <a:off x="255068" y="3513818"/>
            <a:ext cx="2641373" cy="800652"/>
          </a:xfrm>
          <a:prstGeom prst="rect">
            <a:avLst/>
          </a:prstGeom>
        </p:spPr>
      </p:pic>
      <p:pic>
        <p:nvPicPr>
          <p:cNvPr id="26" name="Picture 25" descr="image005">
            <a:extLst>
              <a:ext uri="{FF2B5EF4-FFF2-40B4-BE49-F238E27FC236}">
                <a16:creationId xmlns:a16="http://schemas.microsoft.com/office/drawing/2014/main" id="{D4061ADF-B22C-48F2-8EB6-273DD8CAD9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2693" y="2205046"/>
            <a:ext cx="4338524" cy="731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Subtitle 2">
            <a:extLst>
              <a:ext uri="{FF2B5EF4-FFF2-40B4-BE49-F238E27FC236}">
                <a16:creationId xmlns:a16="http://schemas.microsoft.com/office/drawing/2014/main" id="{883D7CC1-30A3-438B-952C-3D3ACC5714BF}"/>
              </a:ext>
            </a:extLst>
          </p:cNvPr>
          <p:cNvSpPr txBox="1">
            <a:spLocks/>
          </p:cNvSpPr>
          <p:nvPr/>
        </p:nvSpPr>
        <p:spPr>
          <a:xfrm>
            <a:off x="3526979" y="577625"/>
            <a:ext cx="4939093" cy="73107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Arial" pitchFamily="34" charset="0"/>
                <a:ea typeface="+mn-ea"/>
                <a:cs typeface="Arial" charset="0"/>
              </a:rPr>
              <a:t>Acknowledgement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1AFDDB51-B6AE-4301-AB84-AB20EC3496E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79262" y="3654308"/>
            <a:ext cx="1466850" cy="1017195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956B48C5-EAA3-41A6-BB9D-A2041351966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577153" y="5672421"/>
            <a:ext cx="1810755" cy="84907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EF54ADC-0B05-4397-B8D2-63CE7834CFB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881023" y="5441464"/>
            <a:ext cx="1672667" cy="76695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C009E0A-301C-42A7-AA1D-684EDAC7C26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2670" y="2100074"/>
            <a:ext cx="3501640" cy="849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543446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66C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9527FCEA-6143-4C5E-8C45-8AC9237ADE8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50000"/>
              <a:lumOff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A9F23AD-7A55-49F3-A3EC-743F47F36B0E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7012" y="487090"/>
            <a:ext cx="6741849" cy="5897880"/>
          </a:xfrm>
          <a:prstGeom prst="rect">
            <a:avLst/>
          </a:prstGeom>
          <a:solidFill>
            <a:srgbClr val="FFFFFF"/>
          </a:solidFill>
          <a:ln w="19050">
            <a:solidFill>
              <a:schemeClr val="tx1">
                <a:lumMod val="50000"/>
                <a:lumOff val="50000"/>
                <a:alpha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7D9F91F-72C9-4DB9-ABD0-A8180D8262D5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534655" y="480060"/>
            <a:ext cx="4180332" cy="2788074"/>
          </a:xfrm>
          <a:prstGeom prst="rect">
            <a:avLst/>
          </a:prstGeom>
          <a:solidFill>
            <a:srgbClr val="FFFFFF"/>
          </a:solidFill>
          <a:ln w="19050">
            <a:solidFill>
              <a:schemeClr val="tx1">
                <a:lumMod val="50000"/>
                <a:lumOff val="50000"/>
                <a:alpha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E016956-CE9F-4946-8834-A8BC3529D0F6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534655" y="3603670"/>
            <a:ext cx="4180332" cy="2788074"/>
          </a:xfrm>
          <a:prstGeom prst="rect">
            <a:avLst/>
          </a:prstGeom>
          <a:solidFill>
            <a:srgbClr val="FFFFFF"/>
          </a:solidFill>
          <a:ln w="19050">
            <a:solidFill>
              <a:schemeClr val="tx1">
                <a:lumMod val="50000"/>
                <a:lumOff val="50000"/>
                <a:alpha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0B77BFE-891E-4A93-9DE7-01FC388BC003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7903675" y="4668574"/>
            <a:ext cx="3729227" cy="1099457"/>
          </a:xfrm>
        </p:spPr>
        <p:txBody>
          <a:bodyPr>
            <a:normAutofit fontScale="70000" lnSpcReduction="20000"/>
          </a:bodyPr>
          <a:lstStyle/>
          <a:p>
            <a:pPr marL="0" indent="0" algn="ctr">
              <a:buNone/>
            </a:pPr>
            <a:r>
              <a:rPr lang="en-US" sz="5400" b="1" dirty="0">
                <a:solidFill>
                  <a:srgbClr val="0070C0"/>
                </a:solidFill>
              </a:rPr>
              <a:t>Thank you for listening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9E11631-9136-4291-A289-050C4C6E82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34655" y="689524"/>
            <a:ext cx="3854945" cy="244789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F21DF560-2ACD-4FA9-BB9F-36496B49331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735" t="18625" r="13379" b="11409"/>
          <a:stretch/>
        </p:blipFill>
        <p:spPr>
          <a:xfrm>
            <a:off x="711201" y="772160"/>
            <a:ext cx="6228080" cy="5303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01129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6162" y="1824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4" name="Object 1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6162" y="1824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angle 14">
            <a:extLst>
              <a:ext uri="{FF2B5EF4-FFF2-40B4-BE49-F238E27FC236}">
                <a16:creationId xmlns:a16="http://schemas.microsoft.com/office/drawing/2014/main" id="{917C398F-6FA6-AC4B-B21D-F0416A4A4C62}"/>
              </a:ext>
            </a:extLst>
          </p:cNvPr>
          <p:cNvSpPr>
            <a:spLocks noChangeArrowheads="1"/>
          </p:cNvSpPr>
          <p:nvPr/>
        </p:nvSpPr>
        <p:spPr bwMode="gray">
          <a:xfrm>
            <a:off x="1781921" y="594940"/>
            <a:ext cx="8689598" cy="225062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defTabSz="914303">
              <a:defRPr/>
            </a:pPr>
            <a:endParaRPr lang="en-US" sz="15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41" name="Rectangle 8">
            <a:extLst>
              <a:ext uri="{FF2B5EF4-FFF2-40B4-BE49-F238E27FC236}">
                <a16:creationId xmlns:a16="http://schemas.microsoft.com/office/drawing/2014/main" id="{2FEE8CDE-65CD-F84F-8637-033C1A922409}"/>
              </a:ext>
            </a:extLst>
          </p:cNvPr>
          <p:cNvSpPr txBox="1"/>
          <p:nvPr/>
        </p:nvSpPr>
        <p:spPr>
          <a:xfrm>
            <a:off x="1879945" y="706978"/>
            <a:ext cx="8434264" cy="20852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 defTabSz="895255">
              <a:spcBef>
                <a:spcPts val="612"/>
              </a:spcBef>
              <a:buClr>
                <a:srgbClr val="39302A"/>
              </a:buClr>
              <a:buNone/>
              <a:defRPr/>
            </a:pPr>
            <a:r>
              <a:rPr lang="en-US" sz="1683" b="1" dirty="0">
                <a:solidFill>
                  <a:srgbClr val="0070C0"/>
                </a:solidFill>
                <a:latin typeface="Arial"/>
                <a:ea typeface="Arial"/>
                <a:cs typeface="Arial"/>
                <a:sym typeface="Arial"/>
              </a:rPr>
              <a:t>Scorecard management tools support nutrition interventions and decision making</a:t>
            </a:r>
            <a:r>
              <a:rPr lang="en-US" sz="1683" dirty="0">
                <a:solidFill>
                  <a:srgbClr val="0070C0"/>
                </a:solidFill>
                <a:latin typeface="Arial"/>
                <a:ea typeface="Arial"/>
                <a:cs typeface="Arial"/>
                <a:sym typeface="Arial"/>
              </a:rPr>
              <a:t>:</a:t>
            </a:r>
          </a:p>
          <a:p>
            <a:pPr marL="457152" lvl="2" indent="-365087" defTabSz="895255">
              <a:spcBef>
                <a:spcPts val="612"/>
              </a:spcBef>
              <a:buClr>
                <a:srgbClr val="39302A"/>
              </a:buClr>
              <a:buSzPct val="119999"/>
              <a:buFont typeface="Arial"/>
              <a:buChar char="–"/>
              <a:defRPr/>
            </a:pPr>
            <a:r>
              <a:rPr lang="en-US" sz="1683" dirty="0">
                <a:solidFill>
                  <a:prstClr val="black"/>
                </a:solidFill>
                <a:latin typeface="Arial"/>
                <a:ea typeface="Arial"/>
                <a:cs typeface="Arial"/>
                <a:sym typeface="Arial"/>
              </a:rPr>
              <a:t>Providing an </a:t>
            </a:r>
            <a:r>
              <a:rPr lang="en-US" sz="1683" b="1" dirty="0">
                <a:solidFill>
                  <a:prstClr val="black"/>
                </a:solidFill>
                <a:latin typeface="Arial"/>
                <a:ea typeface="Arial"/>
                <a:cs typeface="Arial"/>
                <a:sym typeface="Arial"/>
              </a:rPr>
              <a:t>online</a:t>
            </a:r>
            <a:r>
              <a:rPr lang="en-US" sz="1683" dirty="0">
                <a:solidFill>
                  <a:prstClr val="black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683" b="1" dirty="0">
                <a:solidFill>
                  <a:srgbClr val="6F0710"/>
                </a:solidFill>
                <a:latin typeface="Arial"/>
                <a:ea typeface="Arial"/>
                <a:cs typeface="Arial"/>
                <a:sym typeface="Arial"/>
              </a:rPr>
              <a:t>management system </a:t>
            </a:r>
            <a:r>
              <a:rPr lang="en-US" sz="1683" dirty="0">
                <a:solidFill>
                  <a:prstClr val="black"/>
                </a:solidFill>
                <a:latin typeface="Arial"/>
                <a:ea typeface="Arial"/>
                <a:cs typeface="Arial"/>
                <a:sym typeface="Arial"/>
              </a:rPr>
              <a:t>to help countries track performance of key indicators and manage actions and workplans</a:t>
            </a:r>
          </a:p>
          <a:p>
            <a:pPr marL="457152" lvl="2" indent="-365087" defTabSz="895255">
              <a:spcBef>
                <a:spcPts val="612"/>
              </a:spcBef>
              <a:buClr>
                <a:srgbClr val="39302A"/>
              </a:buClr>
              <a:buSzPct val="119999"/>
              <a:buFont typeface="Arial"/>
              <a:buChar char="–"/>
              <a:defRPr/>
            </a:pPr>
            <a:r>
              <a:rPr lang="en-US" sz="1683" dirty="0">
                <a:solidFill>
                  <a:prstClr val="black"/>
                </a:solidFill>
                <a:latin typeface="Arial"/>
                <a:ea typeface="Arial"/>
                <a:cs typeface="Arial"/>
                <a:sym typeface="Arial"/>
              </a:rPr>
              <a:t>Using </a:t>
            </a:r>
            <a:r>
              <a:rPr lang="en-US" sz="1683" b="1" dirty="0">
                <a:solidFill>
                  <a:srgbClr val="6F0710"/>
                </a:solidFill>
                <a:latin typeface="Arial"/>
                <a:ea typeface="Arial"/>
                <a:cs typeface="Arial"/>
                <a:sym typeface="Arial"/>
              </a:rPr>
              <a:t>existing quarterly data </a:t>
            </a:r>
            <a:r>
              <a:rPr lang="en-US" sz="1683" dirty="0">
                <a:solidFill>
                  <a:prstClr val="black"/>
                </a:solidFill>
                <a:latin typeface="Arial"/>
                <a:ea typeface="Arial"/>
                <a:cs typeface="Arial"/>
                <a:sym typeface="Arial"/>
              </a:rPr>
              <a:t>to inform actions that address key emerging issues</a:t>
            </a:r>
          </a:p>
          <a:p>
            <a:pPr marL="457152" lvl="2" indent="-365087" defTabSz="895255">
              <a:spcBef>
                <a:spcPts val="612"/>
              </a:spcBef>
              <a:buClr>
                <a:srgbClr val="39302A"/>
              </a:buClr>
              <a:buSzPct val="119999"/>
              <a:buFont typeface="Arial"/>
              <a:buChar char="–"/>
              <a:defRPr/>
            </a:pPr>
            <a:r>
              <a:rPr lang="en-US" sz="1683" dirty="0">
                <a:solidFill>
                  <a:prstClr val="black"/>
                </a:solidFill>
                <a:latin typeface="Arial"/>
                <a:ea typeface="Arial"/>
                <a:cs typeface="Arial"/>
                <a:sym typeface="Arial"/>
              </a:rPr>
              <a:t>Facilitating </a:t>
            </a:r>
            <a:r>
              <a:rPr lang="en-US" sz="1683" b="1" dirty="0">
                <a:solidFill>
                  <a:srgbClr val="6F0710"/>
                </a:solidFill>
                <a:latin typeface="Arial"/>
                <a:ea typeface="Arial"/>
                <a:cs typeface="Arial"/>
                <a:sym typeface="Arial"/>
              </a:rPr>
              <a:t>action</a:t>
            </a:r>
            <a:r>
              <a:rPr lang="en-US" sz="1683" b="1" dirty="0">
                <a:solidFill>
                  <a:prstClr val="black"/>
                </a:solidFill>
                <a:latin typeface="Arial"/>
                <a:ea typeface="Arial"/>
                <a:cs typeface="Arial"/>
                <a:sym typeface="Arial"/>
              </a:rPr>
              <a:t>, </a:t>
            </a:r>
            <a:r>
              <a:rPr lang="en-US" sz="1683" b="1" dirty="0">
                <a:solidFill>
                  <a:srgbClr val="6F0710"/>
                </a:solidFill>
                <a:latin typeface="Arial"/>
                <a:ea typeface="Arial"/>
                <a:cs typeface="Arial"/>
                <a:sym typeface="Arial"/>
              </a:rPr>
              <a:t>accountability and advocacy</a:t>
            </a:r>
            <a:r>
              <a:rPr lang="en-US" sz="1683" dirty="0">
                <a:solidFill>
                  <a:prstClr val="black"/>
                </a:solidFill>
                <a:latin typeface="Arial"/>
                <a:ea typeface="Arial"/>
                <a:cs typeface="Arial"/>
                <a:sym typeface="Arial"/>
              </a:rPr>
              <a:t> at national, and sub-national levels through the action tracker and workplan functions, in addition to data visualization tool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52F9975-2990-DB47-9146-D0F6E3C9F21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18433" y="3067062"/>
            <a:ext cx="2222369" cy="279384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72C98E5-B230-4976-BF89-6CE37B34372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4111" y="706978"/>
            <a:ext cx="1047368" cy="80377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0DB2E144-CE75-4B4C-904D-10E46CA00C5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01150" y="3031636"/>
            <a:ext cx="10451824" cy="3639802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9539384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89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23" name="Object 2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891" y="1621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extBox 33"/>
          <p:cNvSpPr txBox="1"/>
          <p:nvPr>
            <p:custDataLst>
              <p:tags r:id="rId3"/>
            </p:custDataLst>
          </p:nvPr>
        </p:nvSpPr>
        <p:spPr>
          <a:xfrm>
            <a:off x="1688290" y="1034917"/>
            <a:ext cx="3635466" cy="2414167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lIns="77748" tIns="77748" rIns="77748" bIns="77748" rtlCol="0" anchor="t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sz="1837" dirty="0"/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16950" y="1669334"/>
            <a:ext cx="3141309" cy="1704837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45751" y="234864"/>
            <a:ext cx="7553680" cy="6647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641412"/>
            <a:r>
              <a:rPr lang="en-US" sz="2400" b="1" kern="1200" dirty="0">
                <a:solidFill>
                  <a:srgbClr val="0070C0"/>
                </a:solidFill>
              </a:rPr>
              <a:t>The scorecard supports and strengthens existing action and accountability mechanisms</a:t>
            </a:r>
          </a:p>
        </p:txBody>
      </p:sp>
      <p:sp>
        <p:nvSpPr>
          <p:cNvPr id="38" name="TextBox 33"/>
          <p:cNvSpPr txBox="1"/>
          <p:nvPr>
            <p:custDataLst>
              <p:tags r:id="rId4"/>
            </p:custDataLst>
          </p:nvPr>
        </p:nvSpPr>
        <p:spPr>
          <a:xfrm>
            <a:off x="6921252" y="3843099"/>
            <a:ext cx="3635466" cy="2414167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lIns="77748" tIns="77748" rIns="77748" bIns="77748" rtlCol="0" anchor="t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sz="1837" dirty="0"/>
          </a:p>
        </p:txBody>
      </p:sp>
      <p:sp>
        <p:nvSpPr>
          <p:cNvPr id="37" name="TextBox 33"/>
          <p:cNvSpPr txBox="1"/>
          <p:nvPr>
            <p:custDataLst>
              <p:tags r:id="rId5"/>
            </p:custDataLst>
          </p:nvPr>
        </p:nvSpPr>
        <p:spPr>
          <a:xfrm>
            <a:off x="1688290" y="3843099"/>
            <a:ext cx="3635466" cy="2414167"/>
          </a:xfrm>
          <a:prstGeom prst="rect">
            <a:avLst/>
          </a:prstGeom>
          <a:solidFill>
            <a:schemeClr val="accent4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lIns="77748" tIns="77748" rIns="77748" bIns="77748" rtlCol="0" anchor="t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sz="1837" dirty="0"/>
          </a:p>
        </p:txBody>
      </p:sp>
      <p:sp>
        <p:nvSpPr>
          <p:cNvPr id="36" name="TextBox 33"/>
          <p:cNvSpPr txBox="1"/>
          <p:nvPr>
            <p:custDataLst>
              <p:tags r:id="rId6"/>
            </p:custDataLst>
          </p:nvPr>
        </p:nvSpPr>
        <p:spPr>
          <a:xfrm>
            <a:off x="6868245" y="1034917"/>
            <a:ext cx="3635466" cy="2414167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lIns="77748" tIns="77748" rIns="77748" bIns="77748" rtlCol="0" anchor="t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sz="1837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39427" y="2017165"/>
            <a:ext cx="3248047" cy="3248047"/>
          </a:xfrm>
          <a:prstGeom prst="rect">
            <a:avLst/>
          </a:prstGeom>
        </p:spPr>
      </p:pic>
      <p:pic>
        <p:nvPicPr>
          <p:cNvPr id="25" name="Picture 23" descr="https://www.volkswagenstiftung.de/uploads/tx_itaofundinginitiative/Subsahara_01.jpg"/>
          <p:cNvPicPr>
            <a:picLocks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16950" y="3913309"/>
            <a:ext cx="2477284" cy="1650490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78461" y="2069349"/>
            <a:ext cx="823126" cy="1266471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4" name="Picture 13"/>
          <p:cNvPicPr>
            <a:picLocks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8451" y="2243552"/>
            <a:ext cx="1802427" cy="938780"/>
          </a:xfrm>
          <a:prstGeom prst="rect">
            <a:avLst/>
          </a:prstGeom>
        </p:spPr>
      </p:pic>
      <p:sp>
        <p:nvSpPr>
          <p:cNvPr id="27" name="Rectangle 27"/>
          <p:cNvSpPr txBox="1"/>
          <p:nvPr/>
        </p:nvSpPr>
        <p:spPr>
          <a:xfrm>
            <a:off x="1936747" y="1144745"/>
            <a:ext cx="2741419" cy="448406"/>
          </a:xfrm>
          <a:prstGeom prst="rect">
            <a:avLst/>
          </a:prstGeom>
          <a:solidFill>
            <a:schemeClr val="accent1">
              <a:alpha val="71000"/>
            </a:schemeClr>
          </a:solidFill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b="1"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28" dirty="0"/>
              <a:t>Data from existing sources are populated in the scorecard</a:t>
            </a:r>
          </a:p>
        </p:txBody>
      </p:sp>
      <p:sp>
        <p:nvSpPr>
          <p:cNvPr id="29" name="Rectangle 27"/>
          <p:cNvSpPr txBox="1"/>
          <p:nvPr/>
        </p:nvSpPr>
        <p:spPr>
          <a:xfrm>
            <a:off x="7115874" y="1144745"/>
            <a:ext cx="3140205" cy="896812"/>
          </a:xfrm>
          <a:prstGeom prst="rect">
            <a:avLst/>
          </a:prstGeom>
          <a:solidFill>
            <a:schemeClr val="accent2">
              <a:alpha val="71000"/>
            </a:schemeClr>
          </a:solidFill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28" b="1" dirty="0">
                <a:solidFill>
                  <a:schemeClr val="bg1"/>
                </a:solidFill>
              </a:rPr>
              <a:t>Existing management processes review the scorecard and document recommended actions in minutes and/or the action tracker</a:t>
            </a:r>
          </a:p>
        </p:txBody>
      </p:sp>
      <p:sp>
        <p:nvSpPr>
          <p:cNvPr id="30" name="Rectangle 27"/>
          <p:cNvSpPr txBox="1"/>
          <p:nvPr/>
        </p:nvSpPr>
        <p:spPr>
          <a:xfrm>
            <a:off x="7027358" y="5722020"/>
            <a:ext cx="3385705" cy="448406"/>
          </a:xfrm>
          <a:prstGeom prst="rect">
            <a:avLst/>
          </a:prstGeom>
          <a:solidFill>
            <a:schemeClr val="accent3">
              <a:alpha val="71000"/>
            </a:schemeClr>
          </a:solidFill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28" b="1" dirty="0" err="1">
                <a:solidFill>
                  <a:schemeClr val="bg1"/>
                </a:solidFill>
              </a:rPr>
              <a:t>Programmes</a:t>
            </a:r>
            <a:r>
              <a:rPr lang="en-US" sz="1428" b="1" dirty="0">
                <a:solidFill>
                  <a:schemeClr val="bg1"/>
                </a:solidFill>
              </a:rPr>
              <a:t> and partners implement recommended action items</a:t>
            </a:r>
          </a:p>
        </p:txBody>
      </p:sp>
      <p:sp>
        <p:nvSpPr>
          <p:cNvPr id="31" name="Rectangle 27"/>
          <p:cNvSpPr txBox="1"/>
          <p:nvPr/>
        </p:nvSpPr>
        <p:spPr>
          <a:xfrm>
            <a:off x="1812276" y="5578394"/>
            <a:ext cx="3375166" cy="448406"/>
          </a:xfrm>
          <a:prstGeom prst="rect">
            <a:avLst/>
          </a:prstGeom>
          <a:solidFill>
            <a:schemeClr val="accent4">
              <a:alpha val="71000"/>
            </a:schemeClr>
          </a:solidFill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28" b="1" dirty="0">
                <a:solidFill>
                  <a:schemeClr val="bg1"/>
                </a:solidFill>
              </a:rPr>
              <a:t>Existing accountability mechanisms monitor implementation and collect data</a:t>
            </a:r>
          </a:p>
        </p:txBody>
      </p:sp>
      <p:sp>
        <p:nvSpPr>
          <p:cNvPr id="34" name="Shape 424"/>
          <p:cNvSpPr/>
          <p:nvPr/>
        </p:nvSpPr>
        <p:spPr>
          <a:xfrm>
            <a:off x="1645751" y="250662"/>
            <a:ext cx="545002" cy="545002"/>
          </a:xfrm>
          <a:prstGeom prst="ellipse">
            <a:avLst/>
          </a:prstGeom>
          <a:solidFill>
            <a:schemeClr val="accent2"/>
          </a:solidFill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3877" tIns="0" rIns="3877" bIns="0" anchor="ctr" anchorCtr="1">
            <a:noAutofit/>
          </a:bodyPr>
          <a:lstStyle/>
          <a:p>
            <a:pPr algn="ctr">
              <a:buSzPct val="25000"/>
            </a:pPr>
            <a:r>
              <a:rPr lang="en-US" sz="3571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?</a:t>
            </a:r>
          </a:p>
        </p:txBody>
      </p:sp>
      <p:pic>
        <p:nvPicPr>
          <p:cNvPr id="3" name="Picture 12">
            <a:extLst>
              <a:ext uri="{FF2B5EF4-FFF2-40B4-BE49-F238E27FC236}">
                <a16:creationId xmlns:a16="http://schemas.microsoft.com/office/drawing/2014/main" id="{FB3702DA-775F-4928-A668-DF0023D2A4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1193" y="4134678"/>
            <a:ext cx="3098393" cy="15785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351320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6162" y="1824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4" name="Object 1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6162" y="1824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le 1">
            <a:extLst>
              <a:ext uri="{FF2B5EF4-FFF2-40B4-BE49-F238E27FC236}">
                <a16:creationId xmlns:a16="http://schemas.microsoft.com/office/drawing/2014/main" id="{83D1E52C-BC42-B74C-98EE-EBCED29AE4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847779" y="439416"/>
            <a:ext cx="8920512" cy="33239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n-US" sz="2400" b="1" dirty="0">
                <a:solidFill>
                  <a:srgbClr val="0070C0"/>
                </a:solidFill>
                <a:latin typeface="Calibri" panose="020F0502020204030204"/>
              </a:rPr>
              <a:t>The online scorecard management tool (web platform) functionaliti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9D7720F-4109-9248-94D7-C8417B770A31}"/>
              </a:ext>
            </a:extLst>
          </p:cNvPr>
          <p:cNvSpPr/>
          <p:nvPr/>
        </p:nvSpPr>
        <p:spPr>
          <a:xfrm>
            <a:off x="1847779" y="825905"/>
            <a:ext cx="8138631" cy="654570"/>
          </a:xfrm>
          <a:prstGeom prst="rect">
            <a:avLst/>
          </a:prstGeom>
          <a:noFill/>
          <a:ln w="19050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3910" tIns="61565" rIns="61565" bIns="61565" rtlCol="0" anchor="t"/>
          <a:lstStyle/>
          <a:p>
            <a:pPr marL="9525" lvl="3" defTabSz="914303">
              <a:spcBef>
                <a:spcPts val="513"/>
              </a:spcBef>
              <a:buClr>
                <a:srgbClr val="E06020"/>
              </a:buClr>
              <a:defRPr/>
            </a:pPr>
            <a:endParaRPr lang="en-GB" sz="1600" i="1" baseline="300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B0811B4-00ED-684C-A508-08C82EDD3E93}"/>
              </a:ext>
            </a:extLst>
          </p:cNvPr>
          <p:cNvSpPr/>
          <p:nvPr/>
        </p:nvSpPr>
        <p:spPr>
          <a:xfrm>
            <a:off x="7594601" y="1036895"/>
            <a:ext cx="62994" cy="26967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03">
              <a:defRPr/>
            </a:pPr>
            <a:endParaRPr lang="en-US" sz="1224" dirty="0" err="1">
              <a:solidFill>
                <a:prstClr val="black"/>
              </a:solidFill>
              <a:latin typeface="Arial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53F45C4-8B79-284B-B54F-771C0A401C20}"/>
              </a:ext>
            </a:extLst>
          </p:cNvPr>
          <p:cNvSpPr/>
          <p:nvPr/>
        </p:nvSpPr>
        <p:spPr>
          <a:xfrm>
            <a:off x="1847779" y="6054411"/>
            <a:ext cx="8496442" cy="287983"/>
          </a:xfrm>
          <a:prstGeom prst="rect">
            <a:avLst/>
          </a:prstGeom>
          <a:solidFill>
            <a:schemeClr val="accent1"/>
          </a:solidFill>
          <a:ln w="9525" cmpd="sng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982" tIns="62982" rIns="62982" bIns="62982" rtlCol="0" anchor="ctr"/>
          <a:lstStyle/>
          <a:p>
            <a:pPr algn="ctr" defTabSz="989452">
              <a:spcBef>
                <a:spcPts val="300"/>
              </a:spcBef>
              <a:spcAft>
                <a:spcPts val="600"/>
              </a:spcAft>
              <a:buClr>
                <a:srgbClr val="FFD200"/>
              </a:buClr>
              <a:buSzPct val="70000"/>
              <a:defRPr/>
            </a:pPr>
            <a:r>
              <a:rPr lang="en-GB" sz="1400" dirty="0">
                <a:solidFill>
                  <a:prstClr val="black"/>
                </a:solidFill>
                <a:latin typeface="Arial"/>
              </a:rPr>
              <a:t>Only users with accounts can access scorecards and management tools at www.rmncah.org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E7A0FCC-B08E-3C4C-BCBC-CCB893E99797}"/>
              </a:ext>
            </a:extLst>
          </p:cNvPr>
          <p:cNvSpPr/>
          <p:nvPr/>
        </p:nvSpPr>
        <p:spPr>
          <a:xfrm>
            <a:off x="5438013" y="2934771"/>
            <a:ext cx="1608830" cy="3037870"/>
          </a:xfrm>
          <a:prstGeom prst="rect">
            <a:avLst/>
          </a:prstGeom>
          <a:noFill/>
          <a:ln w="9525" cmpd="sng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982" tIns="143991" rIns="62982" bIns="62982" rtlCol="0" anchor="t"/>
          <a:lstStyle/>
          <a:p>
            <a:pPr algn="ctr" defTabSz="989452">
              <a:spcBef>
                <a:spcPts val="300"/>
              </a:spcBef>
              <a:spcAft>
                <a:spcPts val="600"/>
              </a:spcAft>
              <a:buClr>
                <a:srgbClr val="FFD200"/>
              </a:buClr>
              <a:buSzPct val="70000"/>
              <a:defRPr/>
            </a:pPr>
            <a:r>
              <a:rPr lang="en-GB" sz="1326" dirty="0">
                <a:solidFill>
                  <a:prstClr val="black"/>
                </a:solidFill>
                <a:latin typeface="Arial"/>
              </a:rPr>
              <a:t>Tracks implementation of annual  workplans, listing key milestones and the progress of action items with clear owners and timelines, and an automated notification system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505A635-FF86-F745-AD73-1B96252CB89F}"/>
              </a:ext>
            </a:extLst>
          </p:cNvPr>
          <p:cNvSpPr/>
          <p:nvPr/>
        </p:nvSpPr>
        <p:spPr>
          <a:xfrm>
            <a:off x="1635745" y="2934771"/>
            <a:ext cx="1439915" cy="3052296"/>
          </a:xfrm>
          <a:prstGeom prst="rect">
            <a:avLst/>
          </a:prstGeom>
          <a:noFill/>
          <a:ln w="9525" cmpd="sng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982" tIns="143991" rIns="62982" bIns="62982" rtlCol="0" anchor="t"/>
          <a:lstStyle/>
          <a:p>
            <a:pPr algn="ctr" defTabSz="914303">
              <a:spcBef>
                <a:spcPts val="300"/>
              </a:spcBef>
              <a:spcAft>
                <a:spcPts val="600"/>
              </a:spcAft>
              <a:defRPr/>
            </a:pPr>
            <a:r>
              <a:rPr lang="en-GB" sz="1326" dirty="0">
                <a:solidFill>
                  <a:prstClr val="black"/>
                </a:solidFill>
                <a:latin typeface="Arial"/>
              </a:rPr>
              <a:t>Quarterly performance of priority indicators at national, regional and district level. Some scorecards include facility level data</a:t>
            </a:r>
          </a:p>
          <a:p>
            <a:pPr defTabSz="914303">
              <a:spcBef>
                <a:spcPts val="300"/>
              </a:spcBef>
              <a:spcAft>
                <a:spcPts val="600"/>
              </a:spcAft>
              <a:defRPr/>
            </a:pPr>
            <a:r>
              <a:rPr lang="en-GB" sz="1000" dirty="0">
                <a:solidFill>
                  <a:prstClr val="black"/>
                </a:solidFill>
                <a:latin typeface="Arial"/>
              </a:rPr>
              <a:t> 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5302494-5AA2-7747-A28D-09BF7ED86756}"/>
              </a:ext>
            </a:extLst>
          </p:cNvPr>
          <p:cNvSpPr/>
          <p:nvPr/>
        </p:nvSpPr>
        <p:spPr>
          <a:xfrm>
            <a:off x="7299351" y="2934771"/>
            <a:ext cx="1439915" cy="3037870"/>
          </a:xfrm>
          <a:prstGeom prst="rect">
            <a:avLst/>
          </a:prstGeom>
          <a:noFill/>
          <a:ln w="9525" cmpd="sng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982" tIns="143991" rIns="62982" bIns="62982" rtlCol="0" anchor="t"/>
          <a:lstStyle/>
          <a:p>
            <a:pPr algn="ctr" defTabSz="989452">
              <a:spcBef>
                <a:spcPts val="300"/>
              </a:spcBef>
              <a:spcAft>
                <a:spcPts val="600"/>
              </a:spcAft>
              <a:buClr>
                <a:srgbClr val="FFD200"/>
              </a:buClr>
              <a:buSzPct val="70000"/>
              <a:defRPr/>
            </a:pPr>
            <a:r>
              <a:rPr lang="en-GB" sz="1326" dirty="0">
                <a:solidFill>
                  <a:prstClr val="black"/>
                </a:solidFill>
                <a:latin typeface="Arial"/>
              </a:rPr>
              <a:t>An automated SMS notification system alerts action owners on outstanding actions and approaching deadline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64DD281-0CAC-C542-9C3F-F60D7EBC944D}"/>
              </a:ext>
            </a:extLst>
          </p:cNvPr>
          <p:cNvSpPr/>
          <p:nvPr/>
        </p:nvSpPr>
        <p:spPr>
          <a:xfrm>
            <a:off x="9063532" y="2944778"/>
            <a:ext cx="2002031" cy="3027864"/>
          </a:xfrm>
          <a:prstGeom prst="rect">
            <a:avLst/>
          </a:prstGeom>
          <a:noFill/>
          <a:ln w="9525" cmpd="sng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982" tIns="143991" rIns="62982" bIns="62982" rtlCol="0" anchor="t"/>
          <a:lstStyle/>
          <a:p>
            <a:pPr algn="ctr" defTabSz="914303">
              <a:spcBef>
                <a:spcPts val="300"/>
              </a:spcBef>
              <a:spcAft>
                <a:spcPts val="600"/>
              </a:spcAft>
              <a:defRPr/>
            </a:pPr>
            <a:r>
              <a:rPr lang="en-GB" sz="1326" dirty="0">
                <a:solidFill>
                  <a:prstClr val="black"/>
                </a:solidFill>
                <a:latin typeface="Arial"/>
              </a:rPr>
              <a:t>Charts, maps, and other data visualisation tools provide additional context by showing indicator performance over time</a:t>
            </a:r>
            <a:endParaRPr lang="en-US" sz="1326" i="1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D2AEBFD-D95F-1D41-B05C-C201261CCE1D}"/>
              </a:ext>
            </a:extLst>
          </p:cNvPr>
          <p:cNvSpPr/>
          <p:nvPr/>
        </p:nvSpPr>
        <p:spPr>
          <a:xfrm>
            <a:off x="1741763" y="1237530"/>
            <a:ext cx="1439915" cy="359979"/>
          </a:xfrm>
          <a:prstGeom prst="rect">
            <a:avLst/>
          </a:prstGeom>
          <a:noFill/>
          <a:ln w="9525" cmpd="sng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982" tIns="62982" rIns="62982" bIns="62982" rtlCol="0" anchor="ctr"/>
          <a:lstStyle/>
          <a:p>
            <a:pPr algn="ctr" defTabSz="989452">
              <a:spcBef>
                <a:spcPts val="300"/>
              </a:spcBef>
              <a:spcAft>
                <a:spcPts val="600"/>
              </a:spcAft>
              <a:buClr>
                <a:srgbClr val="FFD200"/>
              </a:buClr>
              <a:buSzPct val="70000"/>
              <a:defRPr/>
            </a:pPr>
            <a:r>
              <a:rPr lang="en-US" sz="1400" b="1" dirty="0">
                <a:solidFill>
                  <a:prstClr val="black"/>
                </a:solidFill>
                <a:latin typeface="Arial"/>
              </a:rPr>
              <a:t>Scorecard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132C5A9-D123-5248-974D-AF1764AFBA63}"/>
              </a:ext>
            </a:extLst>
          </p:cNvPr>
          <p:cNvSpPr/>
          <p:nvPr/>
        </p:nvSpPr>
        <p:spPr>
          <a:xfrm>
            <a:off x="5429153" y="1237530"/>
            <a:ext cx="1608830" cy="359979"/>
          </a:xfrm>
          <a:prstGeom prst="rect">
            <a:avLst/>
          </a:prstGeom>
          <a:noFill/>
          <a:ln w="9525" cmpd="sng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982" tIns="62982" rIns="62982" bIns="62982" rtlCol="0" anchor="ctr"/>
          <a:lstStyle/>
          <a:p>
            <a:pPr defTabSz="989452">
              <a:spcBef>
                <a:spcPts val="300"/>
              </a:spcBef>
              <a:spcAft>
                <a:spcPts val="600"/>
              </a:spcAft>
              <a:buClr>
                <a:srgbClr val="FFD200"/>
              </a:buClr>
              <a:buSzPct val="70000"/>
              <a:defRPr/>
            </a:pPr>
            <a:r>
              <a:rPr lang="en-US" sz="1200" b="1" dirty="0">
                <a:solidFill>
                  <a:prstClr val="black"/>
                </a:solidFill>
                <a:latin typeface="Arial"/>
              </a:rPr>
              <a:t>Workplan manager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4603912-B6E3-3F46-B5E2-40D2A23F1829}"/>
              </a:ext>
            </a:extLst>
          </p:cNvPr>
          <p:cNvSpPr/>
          <p:nvPr/>
        </p:nvSpPr>
        <p:spPr>
          <a:xfrm>
            <a:off x="7312451" y="1237530"/>
            <a:ext cx="1439915" cy="359979"/>
          </a:xfrm>
          <a:prstGeom prst="rect">
            <a:avLst/>
          </a:prstGeom>
          <a:noFill/>
          <a:ln w="9525" cmpd="sng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982" tIns="62982" rIns="62982" bIns="62982" rtlCol="0" anchor="ctr"/>
          <a:lstStyle/>
          <a:p>
            <a:pPr algn="ctr" defTabSz="989452">
              <a:spcBef>
                <a:spcPts val="300"/>
              </a:spcBef>
              <a:spcAft>
                <a:spcPts val="600"/>
              </a:spcAft>
              <a:buClr>
                <a:srgbClr val="FFD200"/>
              </a:buClr>
              <a:buSzPct val="70000"/>
              <a:defRPr/>
            </a:pPr>
            <a:r>
              <a:rPr lang="en-US" sz="1100" b="1" dirty="0">
                <a:solidFill>
                  <a:prstClr val="black"/>
                </a:solidFill>
                <a:latin typeface="Arial"/>
              </a:rPr>
              <a:t>Mobile notifications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EA3F949-1FE2-B64E-8EE1-6DDCAE6D02CF}"/>
              </a:ext>
            </a:extLst>
          </p:cNvPr>
          <p:cNvSpPr/>
          <p:nvPr/>
        </p:nvSpPr>
        <p:spPr>
          <a:xfrm>
            <a:off x="9328376" y="1237530"/>
            <a:ext cx="1439915" cy="359979"/>
          </a:xfrm>
          <a:prstGeom prst="rect">
            <a:avLst/>
          </a:prstGeom>
          <a:noFill/>
          <a:ln w="9525" cmpd="sng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982" tIns="62982" rIns="62982" bIns="62982" rtlCol="0" anchor="ctr"/>
          <a:lstStyle/>
          <a:p>
            <a:pPr algn="ctr" defTabSz="989452">
              <a:spcBef>
                <a:spcPts val="300"/>
              </a:spcBef>
              <a:spcAft>
                <a:spcPts val="600"/>
              </a:spcAft>
              <a:buClr>
                <a:srgbClr val="FFD200"/>
              </a:buClr>
              <a:buSzPct val="70000"/>
              <a:defRPr/>
            </a:pPr>
            <a:r>
              <a:rPr lang="en-US" sz="1400" b="1" dirty="0">
                <a:solidFill>
                  <a:prstClr val="black"/>
                </a:solidFill>
                <a:latin typeface="Arial"/>
              </a:rPr>
              <a:t>Data </a:t>
            </a:r>
            <a:r>
              <a:rPr lang="en-US" sz="1400" b="1" dirty="0" err="1">
                <a:solidFill>
                  <a:prstClr val="black"/>
                </a:solidFill>
                <a:latin typeface="Arial"/>
              </a:rPr>
              <a:t>visualisation</a:t>
            </a:r>
            <a:endParaRPr lang="en-US" sz="1400" b="1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BCF4B636-DF53-7E49-9D4C-47BDFD334F32}"/>
              </a:ext>
            </a:extLst>
          </p:cNvPr>
          <p:cNvSpPr txBox="1"/>
          <p:nvPr/>
        </p:nvSpPr>
        <p:spPr>
          <a:xfrm>
            <a:off x="1933276" y="2828447"/>
            <a:ext cx="750211" cy="241808"/>
          </a:xfrm>
          <a:prstGeom prst="rect">
            <a:avLst/>
          </a:prstGeom>
          <a:solidFill>
            <a:schemeClr val="bg1"/>
          </a:solidFill>
        </p:spPr>
        <p:txBody>
          <a:bodyPr wrap="none" lIns="83973" tIns="41987" rIns="83973" bIns="41987" rtlCol="0">
            <a:spAutoFit/>
          </a:bodyPr>
          <a:lstStyle/>
          <a:p>
            <a:pPr defTabSz="914303">
              <a:defRPr/>
            </a:pPr>
            <a:r>
              <a:rPr lang="en-GB" sz="1000" b="1" dirty="0">
                <a:solidFill>
                  <a:prstClr val="black"/>
                </a:solidFill>
                <a:latin typeface="Arial"/>
              </a:rPr>
              <a:t>What It is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F7C83D0C-D007-7644-81FE-01E249EDFC17}"/>
              </a:ext>
            </a:extLst>
          </p:cNvPr>
          <p:cNvSpPr txBox="1"/>
          <p:nvPr/>
        </p:nvSpPr>
        <p:spPr>
          <a:xfrm>
            <a:off x="5409812" y="2828447"/>
            <a:ext cx="750211" cy="241808"/>
          </a:xfrm>
          <a:prstGeom prst="rect">
            <a:avLst/>
          </a:prstGeom>
          <a:solidFill>
            <a:schemeClr val="bg1"/>
          </a:solidFill>
        </p:spPr>
        <p:txBody>
          <a:bodyPr wrap="none" lIns="83973" tIns="41987" rIns="83973" bIns="41987" rtlCol="0">
            <a:spAutoFit/>
          </a:bodyPr>
          <a:lstStyle/>
          <a:p>
            <a:pPr defTabSz="914303">
              <a:defRPr/>
            </a:pPr>
            <a:r>
              <a:rPr lang="en-GB" sz="1000" b="1" dirty="0">
                <a:solidFill>
                  <a:prstClr val="black"/>
                </a:solidFill>
                <a:latin typeface="Arial"/>
              </a:rPr>
              <a:t>What it is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8C5A5363-7A98-2E4A-B4CF-ADE3B9438403}"/>
              </a:ext>
            </a:extLst>
          </p:cNvPr>
          <p:cNvSpPr txBox="1"/>
          <p:nvPr/>
        </p:nvSpPr>
        <p:spPr>
          <a:xfrm>
            <a:off x="7200254" y="2828447"/>
            <a:ext cx="750211" cy="241808"/>
          </a:xfrm>
          <a:prstGeom prst="rect">
            <a:avLst/>
          </a:prstGeom>
          <a:solidFill>
            <a:schemeClr val="bg1"/>
          </a:solidFill>
        </p:spPr>
        <p:txBody>
          <a:bodyPr wrap="none" lIns="83973" tIns="41987" rIns="83973" bIns="41987" rtlCol="0">
            <a:spAutoFit/>
          </a:bodyPr>
          <a:lstStyle/>
          <a:p>
            <a:pPr defTabSz="914303">
              <a:defRPr/>
            </a:pPr>
            <a:r>
              <a:rPr lang="en-GB" sz="1000" b="1" dirty="0">
                <a:solidFill>
                  <a:prstClr val="black"/>
                </a:solidFill>
                <a:latin typeface="Arial"/>
              </a:rPr>
              <a:t>What it is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462355D8-BAB2-DE48-B9C6-9F4405DA6872}"/>
              </a:ext>
            </a:extLst>
          </p:cNvPr>
          <p:cNvSpPr txBox="1"/>
          <p:nvPr/>
        </p:nvSpPr>
        <p:spPr>
          <a:xfrm>
            <a:off x="8965519" y="2828447"/>
            <a:ext cx="750211" cy="241808"/>
          </a:xfrm>
          <a:prstGeom prst="rect">
            <a:avLst/>
          </a:prstGeom>
          <a:solidFill>
            <a:schemeClr val="bg1"/>
          </a:solidFill>
        </p:spPr>
        <p:txBody>
          <a:bodyPr wrap="none" lIns="83973" tIns="41987" rIns="83973" bIns="41987" rtlCol="0">
            <a:spAutoFit/>
          </a:bodyPr>
          <a:lstStyle/>
          <a:p>
            <a:pPr defTabSz="914303">
              <a:defRPr/>
            </a:pPr>
            <a:r>
              <a:rPr lang="en-GB" sz="1000" b="1" dirty="0">
                <a:solidFill>
                  <a:prstClr val="black"/>
                </a:solidFill>
                <a:latin typeface="Arial"/>
              </a:rPr>
              <a:t>What it is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1F1157EB-9756-7340-BA35-77F58ED12FA6}"/>
              </a:ext>
            </a:extLst>
          </p:cNvPr>
          <p:cNvGrpSpPr/>
          <p:nvPr/>
        </p:nvGrpSpPr>
        <p:grpSpPr>
          <a:xfrm>
            <a:off x="1755015" y="1607781"/>
            <a:ext cx="1439813" cy="1220666"/>
            <a:chOff x="133644" y="914400"/>
            <a:chExt cx="8827794" cy="4722437"/>
          </a:xfrm>
        </p:grpSpPr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53F40169-1E32-E94F-B408-FD9922B4606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33644" y="1152525"/>
              <a:ext cx="8827794" cy="4484312"/>
            </a:xfrm>
            <a:prstGeom prst="rect">
              <a:avLst/>
            </a:prstGeom>
          </p:spPr>
        </p:pic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08365004-4028-B544-AE2E-5E5726633752}"/>
                </a:ext>
              </a:extLst>
            </p:cNvPr>
            <p:cNvSpPr/>
            <p:nvPr/>
          </p:nvSpPr>
          <p:spPr>
            <a:xfrm>
              <a:off x="8096250" y="914400"/>
              <a:ext cx="855663" cy="79057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03">
                <a:defRPr/>
              </a:pPr>
              <a:endParaRPr lang="en-GB" sz="1837" dirty="0" err="1">
                <a:solidFill>
                  <a:prstClr val="black"/>
                </a:solidFill>
                <a:latin typeface="Arial"/>
              </a:endParaRP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07C9B54F-DE5B-8C4E-88ED-61AA0F43D8D5}"/>
              </a:ext>
            </a:extLst>
          </p:cNvPr>
          <p:cNvGrpSpPr/>
          <p:nvPr/>
        </p:nvGrpSpPr>
        <p:grpSpPr>
          <a:xfrm>
            <a:off x="7449142" y="1769971"/>
            <a:ext cx="1125942" cy="818734"/>
            <a:chOff x="5798774" y="1916033"/>
            <a:chExt cx="1174861" cy="1151364"/>
          </a:xfrm>
        </p:grpSpPr>
        <p:pic>
          <p:nvPicPr>
            <p:cNvPr id="46" name="Picture 145" descr="Image result for mobile phone">
              <a:extLst>
                <a:ext uri="{FF2B5EF4-FFF2-40B4-BE49-F238E27FC236}">
                  <a16:creationId xmlns:a16="http://schemas.microsoft.com/office/drawing/2014/main" id="{CEB5CE35-30DF-604D-AE1D-3216B3AF82D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98774" y="1916033"/>
              <a:ext cx="1174861" cy="11513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7" name="Picture 46">
              <a:extLst>
                <a:ext uri="{FF2B5EF4-FFF2-40B4-BE49-F238E27FC236}">
                  <a16:creationId xmlns:a16="http://schemas.microsoft.com/office/drawing/2014/main" id="{D4939547-7A5F-7543-BCD9-CDCFBC05C38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5852597" y="2051954"/>
              <a:ext cx="507668" cy="879521"/>
            </a:xfrm>
            <a:prstGeom prst="rect">
              <a:avLst/>
            </a:prstGeom>
          </p:spPr>
        </p:pic>
        <p:pic>
          <p:nvPicPr>
            <p:cNvPr id="48" name="Picture 47">
              <a:extLst>
                <a:ext uri="{FF2B5EF4-FFF2-40B4-BE49-F238E27FC236}">
                  <a16:creationId xmlns:a16="http://schemas.microsoft.com/office/drawing/2014/main" id="{E23D3A25-7CBE-154C-A1BB-541C522B3AF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6428445" y="2051954"/>
              <a:ext cx="502013" cy="879521"/>
            </a:xfrm>
            <a:prstGeom prst="rect">
              <a:avLst/>
            </a:prstGeom>
          </p:spPr>
        </p:pic>
      </p:grpSp>
      <p:sp>
        <p:nvSpPr>
          <p:cNvPr id="50" name="Rectangle 49">
            <a:extLst>
              <a:ext uri="{FF2B5EF4-FFF2-40B4-BE49-F238E27FC236}">
                <a16:creationId xmlns:a16="http://schemas.microsoft.com/office/drawing/2014/main" id="{D50B3A2F-4D5A-4944-84A8-9D070FF8885F}"/>
              </a:ext>
            </a:extLst>
          </p:cNvPr>
          <p:cNvSpPr/>
          <p:nvPr/>
        </p:nvSpPr>
        <p:spPr>
          <a:xfrm>
            <a:off x="3612004" y="1237530"/>
            <a:ext cx="1439915" cy="359979"/>
          </a:xfrm>
          <a:prstGeom prst="rect">
            <a:avLst/>
          </a:prstGeom>
          <a:noFill/>
          <a:ln w="9525" cmpd="sng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982" tIns="62982" rIns="62982" bIns="62982" rtlCol="0" anchor="ctr"/>
          <a:lstStyle/>
          <a:p>
            <a:pPr algn="ctr" defTabSz="989452">
              <a:spcBef>
                <a:spcPts val="300"/>
              </a:spcBef>
              <a:spcAft>
                <a:spcPts val="600"/>
              </a:spcAft>
              <a:buClr>
                <a:srgbClr val="FFD200"/>
              </a:buClr>
              <a:buSzPct val="70000"/>
              <a:defRPr/>
            </a:pPr>
            <a:r>
              <a:rPr lang="en-US" sz="1000" b="1" dirty="0">
                <a:solidFill>
                  <a:prstClr val="white">
                    <a:lumMod val="75000"/>
                  </a:prstClr>
                </a:solidFill>
                <a:latin typeface="Arial"/>
              </a:rPr>
              <a:t>Action tracker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43C32A81-1549-154B-8DBE-78F9E5F939B2}"/>
              </a:ext>
            </a:extLst>
          </p:cNvPr>
          <p:cNvSpPr/>
          <p:nvPr/>
        </p:nvSpPr>
        <p:spPr>
          <a:xfrm>
            <a:off x="3560619" y="2944778"/>
            <a:ext cx="1608830" cy="3027864"/>
          </a:xfrm>
          <a:prstGeom prst="rect">
            <a:avLst/>
          </a:prstGeom>
          <a:noFill/>
          <a:ln w="9525" cmpd="sng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982" tIns="143991" rIns="62982" bIns="62982" rtlCol="0" anchor="t"/>
          <a:lstStyle/>
          <a:p>
            <a:pPr algn="ctr" defTabSz="989452">
              <a:spcBef>
                <a:spcPts val="300"/>
              </a:spcBef>
              <a:spcAft>
                <a:spcPts val="600"/>
              </a:spcAft>
              <a:buClr>
                <a:srgbClr val="FFD200"/>
              </a:buClr>
              <a:buSzPct val="70000"/>
              <a:defRPr/>
            </a:pPr>
            <a:r>
              <a:rPr lang="en-GB" sz="1326" dirty="0">
                <a:solidFill>
                  <a:prstClr val="black"/>
                </a:solidFill>
                <a:latin typeface="Arial"/>
              </a:rPr>
              <a:t>Used to assign actions with deadlines to action “owners”. It includes a progress field showing implementation status and an automated notification system   </a:t>
            </a:r>
          </a:p>
          <a:p>
            <a:pPr algn="ctr" defTabSz="989452">
              <a:spcBef>
                <a:spcPts val="300"/>
              </a:spcBef>
              <a:spcAft>
                <a:spcPts val="600"/>
              </a:spcAft>
              <a:buClr>
                <a:srgbClr val="FFD200"/>
              </a:buClr>
              <a:buSzPct val="70000"/>
              <a:defRPr/>
            </a:pPr>
            <a:endParaRPr lang="en-US" sz="1326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2D81E220-C5BC-E544-90AA-475192EEF87E}"/>
              </a:ext>
            </a:extLst>
          </p:cNvPr>
          <p:cNvSpPr/>
          <p:nvPr/>
        </p:nvSpPr>
        <p:spPr>
          <a:xfrm>
            <a:off x="3651760" y="1237530"/>
            <a:ext cx="1439915" cy="359979"/>
          </a:xfrm>
          <a:prstGeom prst="rect">
            <a:avLst/>
          </a:prstGeom>
          <a:noFill/>
          <a:ln w="9525" cmpd="sng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982" tIns="62982" rIns="62982" bIns="62982" rtlCol="0" anchor="ctr"/>
          <a:lstStyle/>
          <a:p>
            <a:pPr algn="ctr" defTabSz="989452">
              <a:spcBef>
                <a:spcPts val="300"/>
              </a:spcBef>
              <a:spcAft>
                <a:spcPts val="600"/>
              </a:spcAft>
              <a:buClr>
                <a:srgbClr val="FFD200"/>
              </a:buClr>
              <a:buSzPct val="70000"/>
              <a:defRPr/>
            </a:pPr>
            <a:r>
              <a:rPr lang="en-US" sz="1400" b="1" dirty="0">
                <a:solidFill>
                  <a:prstClr val="black"/>
                </a:solidFill>
                <a:latin typeface="Arial"/>
              </a:rPr>
              <a:t>Action tracker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C5F55D34-4501-2347-8C40-0AA677250226}"/>
              </a:ext>
            </a:extLst>
          </p:cNvPr>
          <p:cNvSpPr txBox="1"/>
          <p:nvPr/>
        </p:nvSpPr>
        <p:spPr>
          <a:xfrm>
            <a:off x="3678047" y="2828447"/>
            <a:ext cx="750211" cy="241808"/>
          </a:xfrm>
          <a:prstGeom prst="rect">
            <a:avLst/>
          </a:prstGeom>
          <a:solidFill>
            <a:schemeClr val="bg1"/>
          </a:solidFill>
        </p:spPr>
        <p:txBody>
          <a:bodyPr wrap="none" lIns="83973" tIns="41987" rIns="83973" bIns="41987" rtlCol="0">
            <a:spAutoFit/>
          </a:bodyPr>
          <a:lstStyle/>
          <a:p>
            <a:pPr defTabSz="914303">
              <a:defRPr/>
            </a:pPr>
            <a:r>
              <a:rPr lang="en-GB" sz="1000" b="1" dirty="0">
                <a:solidFill>
                  <a:prstClr val="black"/>
                </a:solidFill>
                <a:latin typeface="Arial"/>
              </a:rPr>
              <a:t>What it is</a:t>
            </a: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247AB418-DCC5-F443-8B5D-6261A79CAB3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651717" y="1719376"/>
            <a:ext cx="1439915" cy="992037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635CE2C2-7240-6D40-986B-B90824D92D4B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b="25469"/>
          <a:stretch/>
        </p:blipFill>
        <p:spPr>
          <a:xfrm>
            <a:off x="9248400" y="1744212"/>
            <a:ext cx="1573361" cy="996201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33982121-3E65-D14E-9EB9-1E3E3CE4E0E5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t="14220" r="63586" b="29390"/>
          <a:stretch/>
        </p:blipFill>
        <p:spPr>
          <a:xfrm>
            <a:off x="5525008" y="1769971"/>
            <a:ext cx="1404254" cy="868305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614243B4-FDF8-DF4D-8D83-8C96A85613C4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t="14220" r="87705" b="75011"/>
          <a:stretch/>
        </p:blipFill>
        <p:spPr>
          <a:xfrm>
            <a:off x="5317767" y="1708198"/>
            <a:ext cx="993979" cy="267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67831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8851" name="Object 1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24270" y="1"/>
          <a:ext cx="16197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78851" name="Object 1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270" y="1"/>
                        <a:ext cx="16197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8850" name="Rectangle 78849"/>
          <p:cNvSpPr/>
          <p:nvPr/>
        </p:nvSpPr>
        <p:spPr>
          <a:xfrm>
            <a:off x="1806425" y="1888642"/>
            <a:ext cx="5973183" cy="4458535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dirty="0" err="1">
              <a:solidFill>
                <a:prstClr val="black"/>
              </a:solidFill>
            </a:endParaRPr>
          </a:p>
        </p:txBody>
      </p:sp>
      <p:sp>
        <p:nvSpPr>
          <p:cNvPr id="52" name="Pentagon 51"/>
          <p:cNvSpPr>
            <a:spLocks/>
          </p:cNvSpPr>
          <p:nvPr/>
        </p:nvSpPr>
        <p:spPr>
          <a:xfrm>
            <a:off x="3851073" y="3752955"/>
            <a:ext cx="3848514" cy="738877"/>
          </a:xfrm>
          <a:prstGeom prst="homePlate">
            <a:avLst>
              <a:gd name="adj" fmla="val 8720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dirty="0" err="1">
              <a:solidFill>
                <a:schemeClr val="bg1"/>
              </a:solidFill>
            </a:endParaRPr>
          </a:p>
        </p:txBody>
      </p:sp>
      <p:sp>
        <p:nvSpPr>
          <p:cNvPr id="53" name="Pentagon 52"/>
          <p:cNvSpPr>
            <a:spLocks/>
          </p:cNvSpPr>
          <p:nvPr/>
        </p:nvSpPr>
        <p:spPr>
          <a:xfrm>
            <a:off x="3851073" y="5094104"/>
            <a:ext cx="3848514" cy="738877"/>
          </a:xfrm>
          <a:prstGeom prst="homePlate">
            <a:avLst>
              <a:gd name="adj" fmla="val 8720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dirty="0" err="1">
              <a:solidFill>
                <a:schemeClr val="bg1"/>
              </a:solidFill>
            </a:endParaRPr>
          </a:p>
        </p:txBody>
      </p:sp>
      <p:sp>
        <p:nvSpPr>
          <p:cNvPr id="23" name="Pentagon 22"/>
          <p:cNvSpPr>
            <a:spLocks/>
          </p:cNvSpPr>
          <p:nvPr/>
        </p:nvSpPr>
        <p:spPr>
          <a:xfrm>
            <a:off x="3851073" y="2411806"/>
            <a:ext cx="3848514" cy="738877"/>
          </a:xfrm>
          <a:prstGeom prst="homePlate">
            <a:avLst>
              <a:gd name="adj" fmla="val 8720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dirty="0" err="1">
              <a:solidFill>
                <a:schemeClr val="bg1"/>
              </a:solidFill>
            </a:endParaRPr>
          </a:p>
        </p:txBody>
      </p:sp>
      <p:pic>
        <p:nvPicPr>
          <p:cNvPr id="78852" name="Picture 16" descr="stoplight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1896852" y="1978351"/>
            <a:ext cx="2090219" cy="4279117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8856" name="Rectangle 286"/>
          <p:cNvSpPr>
            <a:spLocks noChangeArrowheads="1"/>
          </p:cNvSpPr>
          <p:nvPr/>
        </p:nvSpPr>
        <p:spPr bwMode="gray">
          <a:xfrm>
            <a:off x="4097963" y="5322230"/>
            <a:ext cx="3687736" cy="2884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marL="342900" indent="-342900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SzPct val="120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SzPct val="12000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SzPct val="8900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837" dirty="0">
                <a:solidFill>
                  <a:schemeClr val="bg1"/>
                </a:solidFill>
              </a:rPr>
              <a:t>Target achieved (Example: &gt; 95%)</a:t>
            </a:r>
          </a:p>
        </p:txBody>
      </p:sp>
      <p:sp>
        <p:nvSpPr>
          <p:cNvPr id="78857" name="Rectangle 286"/>
          <p:cNvSpPr>
            <a:spLocks noChangeArrowheads="1"/>
          </p:cNvSpPr>
          <p:nvPr/>
        </p:nvSpPr>
        <p:spPr bwMode="gray">
          <a:xfrm>
            <a:off x="4097962" y="3981082"/>
            <a:ext cx="3543218" cy="2884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marL="342900" indent="-342900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SzPct val="120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SzPct val="12000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SzPct val="8900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837" dirty="0">
                <a:solidFill>
                  <a:schemeClr val="bg1"/>
                </a:solidFill>
              </a:rPr>
              <a:t>Progress but more effort required</a:t>
            </a:r>
          </a:p>
        </p:txBody>
      </p:sp>
      <p:sp>
        <p:nvSpPr>
          <p:cNvPr id="78859" name="Rectangle 286"/>
          <p:cNvSpPr>
            <a:spLocks noChangeArrowheads="1"/>
          </p:cNvSpPr>
          <p:nvPr/>
        </p:nvSpPr>
        <p:spPr bwMode="gray">
          <a:xfrm>
            <a:off x="4097962" y="2639933"/>
            <a:ext cx="3351269" cy="2884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marL="342900" indent="-342900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SzPct val="120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SzPct val="12000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SzPct val="8900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837" dirty="0">
                <a:solidFill>
                  <a:schemeClr val="bg1"/>
                </a:solidFill>
              </a:rPr>
              <a:t>Not on track (Example: &lt; 55%) </a:t>
            </a:r>
          </a:p>
        </p:txBody>
      </p:sp>
      <p:sp>
        <p:nvSpPr>
          <p:cNvPr id="78860" name="Line 20"/>
          <p:cNvSpPr>
            <a:spLocks noChangeShapeType="1"/>
          </p:cNvSpPr>
          <p:nvPr/>
        </p:nvSpPr>
        <p:spPr bwMode="gray">
          <a:xfrm>
            <a:off x="1932737" y="3451819"/>
            <a:ext cx="2018451" cy="0"/>
          </a:xfrm>
          <a:prstGeom prst="line">
            <a:avLst/>
          </a:prstGeom>
          <a:noFill/>
          <a:ln w="9525">
            <a:solidFill>
              <a:schemeClr val="bg1">
                <a:lumMod val="75000"/>
              </a:schemeClr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endParaRPr lang="en-US" sz="1837">
              <a:solidFill>
                <a:prstClr val="black"/>
              </a:solidFill>
            </a:endParaRPr>
          </a:p>
        </p:txBody>
      </p:sp>
      <p:sp>
        <p:nvSpPr>
          <p:cNvPr id="78861" name="Line 21"/>
          <p:cNvSpPr>
            <a:spLocks noChangeShapeType="1"/>
          </p:cNvSpPr>
          <p:nvPr/>
        </p:nvSpPr>
        <p:spPr bwMode="gray">
          <a:xfrm>
            <a:off x="1932737" y="4792968"/>
            <a:ext cx="2018451" cy="0"/>
          </a:xfrm>
          <a:prstGeom prst="line">
            <a:avLst/>
          </a:prstGeom>
          <a:noFill/>
          <a:ln w="9525">
            <a:solidFill>
              <a:schemeClr val="bg1">
                <a:lumMod val="75000"/>
              </a:schemeClr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endParaRPr lang="en-US" sz="1837">
              <a:solidFill>
                <a:prstClr val="black"/>
              </a:solidFill>
            </a:endParaRPr>
          </a:p>
        </p:txBody>
      </p:sp>
      <p:sp>
        <p:nvSpPr>
          <p:cNvPr id="21" name="Oval 20"/>
          <p:cNvSpPr/>
          <p:nvPr/>
        </p:nvSpPr>
        <p:spPr>
          <a:xfrm>
            <a:off x="2374553" y="3563956"/>
            <a:ext cx="1116876" cy="1116876"/>
          </a:xfrm>
          <a:prstGeom prst="ellipse">
            <a:avLst/>
          </a:prstGeom>
          <a:solidFill>
            <a:srgbClr val="FFFF00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dirty="0" err="1">
              <a:solidFill>
                <a:prstClr val="black"/>
              </a:solidFill>
            </a:endParaRPr>
          </a:p>
        </p:txBody>
      </p:sp>
      <p:sp>
        <p:nvSpPr>
          <p:cNvPr id="78854" name="Rectangle 27"/>
          <p:cNvSpPr>
            <a:spLocks noChangeArrowheads="1"/>
          </p:cNvSpPr>
          <p:nvPr/>
        </p:nvSpPr>
        <p:spPr bwMode="gray">
          <a:xfrm>
            <a:off x="2596392" y="3981082"/>
            <a:ext cx="673198" cy="282625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 anchor="ctr" anchorCtr="0">
            <a:noAutofit/>
          </a:bodyPr>
          <a:lstStyle>
            <a:lvl1pPr marL="342900" indent="-342900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947738" defTabSz="895350">
              <a:buSzPct val="120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1141413" defTabSz="895350">
              <a:buSzPct val="12000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1441450" defTabSz="895350">
              <a:buSzPct val="8900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144145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144145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144145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144145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buFont typeface="Arial" charset="0"/>
              <a:buNone/>
            </a:pPr>
            <a:r>
              <a:rPr lang="en-US" sz="1837" dirty="0">
                <a:solidFill>
                  <a:prstClr val="black"/>
                </a:solidFill>
              </a:rPr>
              <a:t>Yellow</a:t>
            </a:r>
          </a:p>
        </p:txBody>
      </p:sp>
      <p:sp>
        <p:nvSpPr>
          <p:cNvPr id="22" name="Oval 21"/>
          <p:cNvSpPr/>
          <p:nvPr/>
        </p:nvSpPr>
        <p:spPr>
          <a:xfrm>
            <a:off x="2374553" y="4896134"/>
            <a:ext cx="1116876" cy="1116876"/>
          </a:xfrm>
          <a:prstGeom prst="ellipse">
            <a:avLst/>
          </a:prstGeom>
          <a:solidFill>
            <a:srgbClr val="008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tIns="93297" bIns="93297"/>
          <a:lstStyle/>
          <a:p>
            <a:pPr marL="349861" indent="-349861" defTabSz="913526"/>
            <a:endParaRPr lang="en-US" sz="1837" dirty="0" err="1">
              <a:solidFill>
                <a:prstClr val="black"/>
              </a:solidFill>
            </a:endParaRPr>
          </a:p>
        </p:txBody>
      </p:sp>
      <p:sp>
        <p:nvSpPr>
          <p:cNvPr id="78855" name="Rectangle 27"/>
          <p:cNvSpPr>
            <a:spLocks noChangeArrowheads="1"/>
          </p:cNvSpPr>
          <p:nvPr/>
        </p:nvSpPr>
        <p:spPr bwMode="gray">
          <a:xfrm>
            <a:off x="2605224" y="5313260"/>
            <a:ext cx="655534" cy="282625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 anchor="ctr" anchorCtr="0">
            <a:noAutofit/>
          </a:bodyPr>
          <a:lstStyle>
            <a:lvl1pPr marL="342900" indent="-342900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947738" defTabSz="895350">
              <a:buSzPct val="120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1141413" defTabSz="895350">
              <a:buSzPct val="12000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1441450" defTabSz="895350">
              <a:buSzPct val="8900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144145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144145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144145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144145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buFont typeface="Arial" charset="0"/>
              <a:buNone/>
            </a:pPr>
            <a:r>
              <a:rPr lang="en-US" sz="1837" dirty="0">
                <a:solidFill>
                  <a:prstClr val="white"/>
                </a:solidFill>
              </a:rPr>
              <a:t>Green</a:t>
            </a:r>
          </a:p>
        </p:txBody>
      </p:sp>
      <p:sp>
        <p:nvSpPr>
          <p:cNvPr id="2" name="Oval 1"/>
          <p:cNvSpPr/>
          <p:nvPr/>
        </p:nvSpPr>
        <p:spPr>
          <a:xfrm>
            <a:off x="2374553" y="2222807"/>
            <a:ext cx="1116876" cy="1116876"/>
          </a:xfrm>
          <a:prstGeom prst="ellipse">
            <a:avLst/>
          </a:prstGeom>
          <a:solidFill>
            <a:srgbClr val="FF0000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dirty="0" err="1">
              <a:solidFill>
                <a:prstClr val="black"/>
              </a:solidFill>
            </a:endParaRPr>
          </a:p>
        </p:txBody>
      </p:sp>
      <p:sp>
        <p:nvSpPr>
          <p:cNvPr id="78858" name="Rectangle 27"/>
          <p:cNvSpPr>
            <a:spLocks noChangeArrowheads="1"/>
          </p:cNvSpPr>
          <p:nvPr/>
        </p:nvSpPr>
        <p:spPr bwMode="gray">
          <a:xfrm>
            <a:off x="2716443" y="2639933"/>
            <a:ext cx="433097" cy="282625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 anchor="ctr" anchorCtr="0">
            <a:noAutofit/>
          </a:bodyPr>
          <a:lstStyle>
            <a:lvl1pPr marL="342900" indent="-342900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947738" defTabSz="895350">
              <a:buSzPct val="120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1141413" defTabSz="895350">
              <a:buSzPct val="12000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1441450" defTabSz="895350">
              <a:buSzPct val="8900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144145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144145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144145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144145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buFont typeface="Arial" charset="0"/>
              <a:buNone/>
            </a:pPr>
            <a:r>
              <a:rPr lang="en-US" sz="1837" dirty="0">
                <a:solidFill>
                  <a:prstClr val="white"/>
                </a:solidFill>
              </a:rPr>
              <a:t>Red</a:t>
            </a:r>
          </a:p>
        </p:txBody>
      </p:sp>
      <p:sp>
        <p:nvSpPr>
          <p:cNvPr id="27" name="Line 20"/>
          <p:cNvSpPr>
            <a:spLocks noChangeShapeType="1"/>
          </p:cNvSpPr>
          <p:nvPr/>
        </p:nvSpPr>
        <p:spPr bwMode="gray">
          <a:xfrm>
            <a:off x="4022954" y="3451819"/>
            <a:ext cx="3615271" cy="0"/>
          </a:xfrm>
          <a:prstGeom prst="line">
            <a:avLst/>
          </a:prstGeom>
          <a:noFill/>
          <a:ln w="9525">
            <a:solidFill>
              <a:schemeClr val="accent6"/>
            </a:solidFill>
            <a:prstDash val="sysDot"/>
            <a:round/>
            <a:headEnd/>
            <a:tailEnd type="none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endParaRPr lang="en-US" sz="1837">
              <a:solidFill>
                <a:prstClr val="black"/>
              </a:solidFill>
            </a:endParaRPr>
          </a:p>
        </p:txBody>
      </p:sp>
      <p:sp>
        <p:nvSpPr>
          <p:cNvPr id="28" name="Line 21"/>
          <p:cNvSpPr>
            <a:spLocks noChangeShapeType="1"/>
          </p:cNvSpPr>
          <p:nvPr/>
        </p:nvSpPr>
        <p:spPr bwMode="gray">
          <a:xfrm>
            <a:off x="4022954" y="4792968"/>
            <a:ext cx="3615271" cy="0"/>
          </a:xfrm>
          <a:prstGeom prst="line">
            <a:avLst/>
          </a:prstGeom>
          <a:noFill/>
          <a:ln w="9525">
            <a:solidFill>
              <a:schemeClr val="accent6"/>
            </a:solidFill>
            <a:prstDash val="sysDot"/>
            <a:round/>
            <a:headEnd/>
            <a:tailEnd type="none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endParaRPr lang="en-US" sz="1837">
              <a:solidFill>
                <a:prstClr val="black"/>
              </a:solidFill>
            </a:endParaRPr>
          </a:p>
        </p:txBody>
      </p:sp>
      <p:sp>
        <p:nvSpPr>
          <p:cNvPr id="78862" name="Rectangle 286"/>
          <p:cNvSpPr>
            <a:spLocks noChangeArrowheads="1"/>
          </p:cNvSpPr>
          <p:nvPr/>
        </p:nvSpPr>
        <p:spPr bwMode="gray">
          <a:xfrm>
            <a:off x="4623414" y="3313146"/>
            <a:ext cx="2414352" cy="28262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wrap="none" lIns="74638" tIns="0" rIns="74638" bIns="0">
            <a:noAutofit/>
          </a:bodyPr>
          <a:lstStyle>
            <a:lvl1pPr marL="342900" indent="-342900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596900" indent="-192088" defTabSz="895350">
              <a:defRPr sz="1600">
                <a:solidFill>
                  <a:schemeClr val="tx1"/>
                </a:solidFill>
                <a:latin typeface="Arial" charset="0"/>
              </a:defRPr>
            </a:lvl2pPr>
            <a:lvl3pPr marL="973138" indent="-261938" defTabSz="895350">
              <a:buSzPct val="120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243013" indent="-155575" defTabSz="895350">
              <a:buSzPct val="12000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487488" indent="-130175" defTabSz="895350">
              <a:buSzPct val="8900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944688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401888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859088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316288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/>
            <a:r>
              <a:rPr lang="en-US" sz="1837" dirty="0">
                <a:solidFill>
                  <a:prstClr val="black"/>
                </a:solidFill>
              </a:rPr>
              <a:t>Red-yellow threshold</a:t>
            </a:r>
          </a:p>
        </p:txBody>
      </p:sp>
      <p:sp>
        <p:nvSpPr>
          <p:cNvPr id="78863" name="Rectangle 286"/>
          <p:cNvSpPr>
            <a:spLocks noChangeArrowheads="1"/>
          </p:cNvSpPr>
          <p:nvPr/>
        </p:nvSpPr>
        <p:spPr bwMode="gray">
          <a:xfrm>
            <a:off x="4529532" y="4654170"/>
            <a:ext cx="2660537" cy="28844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wrap="none" lIns="74638" tIns="0" rIns="74638" bIns="0">
            <a:spAutoFit/>
          </a:bodyPr>
          <a:lstStyle>
            <a:lvl1pPr marL="342900" indent="-342900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596900" indent="-192088" defTabSz="895350">
              <a:defRPr sz="1600">
                <a:solidFill>
                  <a:schemeClr val="tx1"/>
                </a:solidFill>
                <a:latin typeface="Arial" charset="0"/>
              </a:defRPr>
            </a:lvl2pPr>
            <a:lvl3pPr marL="973138" indent="-261938" defTabSz="895350">
              <a:buSzPct val="120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243013" indent="-155575" defTabSz="895350">
              <a:buSzPct val="12000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487488" indent="-130175" defTabSz="895350">
              <a:buSzPct val="8900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944688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2401888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859088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3316288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/>
            <a:r>
              <a:rPr lang="en-US" sz="1837" dirty="0">
                <a:solidFill>
                  <a:prstClr val="black"/>
                </a:solidFill>
              </a:rPr>
              <a:t>Yellow-green threshold </a:t>
            </a:r>
          </a:p>
        </p:txBody>
      </p:sp>
      <p:cxnSp>
        <p:nvCxnSpPr>
          <p:cNvPr id="26" name="Straight Connector 25"/>
          <p:cNvCxnSpPr/>
          <p:nvPr/>
        </p:nvCxnSpPr>
        <p:spPr>
          <a:xfrm rot="5400000">
            <a:off x="7916322" y="3225306"/>
            <a:ext cx="0" cy="403690"/>
          </a:xfrm>
          <a:prstGeom prst="line">
            <a:avLst/>
          </a:prstGeom>
          <a:noFill/>
          <a:ln w="19050">
            <a:solidFill>
              <a:srgbClr val="808080"/>
            </a:solidFill>
            <a:round/>
            <a:headEnd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9" name="Title 1"/>
          <p:cNvSpPr txBox="1">
            <a:spLocks/>
          </p:cNvSpPr>
          <p:nvPr/>
        </p:nvSpPr>
        <p:spPr bwMode="auto">
          <a:xfrm>
            <a:off x="1645751" y="239755"/>
            <a:ext cx="8649397" cy="15223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19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646271"/>
            <a:r>
              <a:rPr lang="en-US" sz="1939" dirty="0">
                <a:solidFill>
                  <a:srgbClr val="0070C0"/>
                </a:solidFill>
              </a:rPr>
              <a:t>Each indicator has defined thresholds to indicate whether or not performance is on track. </a:t>
            </a:r>
            <a:endParaRPr lang="en-US" sz="1939" kern="0" dirty="0">
              <a:solidFill>
                <a:srgbClr val="0070C0"/>
              </a:solidFill>
            </a:endParaRPr>
          </a:p>
          <a:p>
            <a:pPr marL="646271"/>
            <a:endParaRPr lang="en-US" sz="1939" kern="0" dirty="0"/>
          </a:p>
          <a:p>
            <a:pPr marL="646271"/>
            <a:r>
              <a:rPr lang="en-US" sz="1939" kern="0" dirty="0"/>
              <a:t>Most countries align the “green” threshold with national targets</a:t>
            </a:r>
          </a:p>
          <a:p>
            <a:pPr marL="646271"/>
            <a:r>
              <a:rPr lang="en-US" sz="1939" kern="0" dirty="0"/>
              <a:t>and the “red” threshold with the baseline</a:t>
            </a:r>
            <a:endParaRPr lang="en-US" sz="1939" dirty="0"/>
          </a:p>
        </p:txBody>
      </p:sp>
      <p:grpSp>
        <p:nvGrpSpPr>
          <p:cNvPr id="30" name="Group 29"/>
          <p:cNvGrpSpPr>
            <a:grpSpLocks/>
          </p:cNvGrpSpPr>
          <p:nvPr/>
        </p:nvGrpSpPr>
        <p:grpSpPr>
          <a:xfrm>
            <a:off x="1645751" y="250664"/>
            <a:ext cx="545003" cy="545003"/>
            <a:chOff x="6997159" y="2164854"/>
            <a:chExt cx="1259505" cy="1259505"/>
          </a:xfrm>
        </p:grpSpPr>
        <p:sp>
          <p:nvSpPr>
            <p:cNvPr id="31" name="TextBox 9"/>
            <p:cNvSpPr txBox="1"/>
            <p:nvPr>
              <p:custDataLst>
                <p:tags r:id="rId4"/>
              </p:custDataLst>
            </p:nvPr>
          </p:nvSpPr>
          <p:spPr>
            <a:xfrm>
              <a:off x="6997159" y="2164854"/>
              <a:ext cx="1259505" cy="1259505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bg1"/>
              </a:solidFill>
            </a:ln>
          </p:spPr>
          <p:txBody>
            <a:bodyPr vert="horz" lIns="3887" tIns="0" rIns="3887" bIns="0" rtlCol="0" anchor="ctr" anchorCtr="1"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endParaRPr lang="en-US" sz="1837" b="1" dirty="0">
                <a:solidFill>
                  <a:schemeClr val="bg1"/>
                </a:solidFill>
              </a:endParaRPr>
            </a:p>
          </p:txBody>
        </p:sp>
        <p:pic>
          <p:nvPicPr>
            <p:cNvPr id="32" name="Picture 4" descr="http://www.clker.com/cliparts/8/H/7/b/P/m/wrench-and-hammer-silhouette-white-hi.png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92863" y="2388121"/>
              <a:ext cx="934448" cy="8129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4" name="Rectangle 286"/>
          <p:cNvSpPr>
            <a:spLocks noChangeArrowheads="1"/>
          </p:cNvSpPr>
          <p:nvPr/>
        </p:nvSpPr>
        <p:spPr bwMode="gray">
          <a:xfrm>
            <a:off x="8257310" y="1937593"/>
            <a:ext cx="1792748" cy="4186648"/>
          </a:xfrm>
          <a:prstGeom prst="rect">
            <a:avLst/>
          </a:prstGeom>
          <a:solidFill>
            <a:schemeClr val="bg1"/>
          </a:solidFill>
          <a:ln w="9525">
            <a:solidFill>
              <a:srgbClr val="80808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73472" tIns="73472" rIns="73472" bIns="73472" anchor="ctr">
            <a:spAutoFit/>
          </a:bodyPr>
          <a:lstStyle>
            <a:lvl1pPr marL="342900" indent="-342900" defTabSz="895350">
              <a:defRPr sz="1600">
                <a:solidFill>
                  <a:schemeClr val="tx1"/>
                </a:solidFill>
                <a:latin typeface="Arial" charset="0"/>
              </a:defRPr>
            </a:lvl1pPr>
            <a:lvl2pPr marL="530225" indent="-192088" defTabSz="895350">
              <a:defRPr sz="1600">
                <a:solidFill>
                  <a:schemeClr val="tx1"/>
                </a:solidFill>
                <a:latin typeface="Arial" charset="0"/>
              </a:defRPr>
            </a:lvl2pPr>
            <a:lvl3pPr marL="793750" indent="-261938" defTabSz="895350">
              <a:buSzPct val="12000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950913" indent="-155575" defTabSz="895350">
              <a:buSzPct val="12000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1082675" indent="-130175" defTabSz="895350">
              <a:buSzPct val="8900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53987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99707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45427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91147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/>
            <a:r>
              <a:rPr lang="en-US" sz="1837" dirty="0"/>
              <a:t>Thresholds are specific to each indicator and may change over time.</a:t>
            </a:r>
          </a:p>
          <a:p>
            <a:pPr marL="0" indent="0"/>
            <a:endParaRPr lang="en-US" sz="1837" dirty="0"/>
          </a:p>
          <a:p>
            <a:pPr marL="0" indent="0"/>
            <a:r>
              <a:rPr lang="en-US" sz="1837" dirty="0"/>
              <a:t>Green is usually aligned with the final target of the strategic plan. </a:t>
            </a:r>
          </a:p>
          <a:p>
            <a:pPr marL="0" indent="0"/>
            <a:endParaRPr lang="en-US" sz="1837" dirty="0"/>
          </a:p>
          <a:p>
            <a:pPr marL="0" indent="0"/>
            <a:r>
              <a:rPr lang="en-US" sz="1837" dirty="0"/>
              <a:t>Red is usually the baseline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2005940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4270" y="1"/>
          <a:ext cx="16197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18" name="Object 1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270" y="1"/>
                        <a:ext cx="16197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3" name="Group 42"/>
          <p:cNvGrpSpPr/>
          <p:nvPr/>
        </p:nvGrpSpPr>
        <p:grpSpPr>
          <a:xfrm>
            <a:off x="1524270" y="912179"/>
            <a:ext cx="9175776" cy="289388"/>
            <a:chOff x="-15836" y="1028729"/>
            <a:chExt cx="8993110" cy="283627"/>
          </a:xfrm>
        </p:grpSpPr>
        <p:sp>
          <p:nvSpPr>
            <p:cNvPr id="46" name="Rectangle 45"/>
            <p:cNvSpPr>
              <a:spLocks/>
            </p:cNvSpPr>
            <p:nvPr/>
          </p:nvSpPr>
          <p:spPr>
            <a:xfrm>
              <a:off x="-15836" y="1028729"/>
              <a:ext cx="8993110" cy="283627"/>
            </a:xfrm>
            <a:prstGeom prst="rect">
              <a:avLst/>
            </a:prstGeom>
            <a:gradFill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25000"/>
                <a:buFont typeface="Arial" charset="0"/>
                <a:buChar char="▪"/>
                <a:tabLst/>
                <a:defRPr/>
              </a:pPr>
              <a:endParaRPr kumimoji="0" lang="en-US" sz="1428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7" name="Rectangle 46"/>
            <p:cNvSpPr>
              <a:spLocks/>
            </p:cNvSpPr>
            <p:nvPr/>
          </p:nvSpPr>
          <p:spPr>
            <a:xfrm>
              <a:off x="-15836" y="1028729"/>
              <a:ext cx="8993110" cy="138827"/>
            </a:xfrm>
            <a:prstGeom prst="rect">
              <a:avLst/>
            </a:prstGeom>
            <a:gradFill>
              <a:gsLst>
                <a:gs pos="100000">
                  <a:srgbClr val="F1EEEB">
                    <a:alpha val="0"/>
                  </a:srgbClr>
                </a:gs>
                <a:gs pos="0">
                  <a:srgbClr val="ECEBE9">
                    <a:alpha val="74000"/>
                    <a:lumMod val="76000"/>
                  </a:srgbClr>
                </a:gs>
              </a:gsLst>
              <a:lin ang="5400000" scaled="1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25000"/>
                <a:buFont typeface="Arial" charset="0"/>
                <a:buChar char="▪"/>
                <a:tabLst/>
                <a:defRPr/>
              </a:pPr>
              <a:endParaRPr kumimoji="0" lang="en-US" sz="1428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51" name="Straight Connector 50"/>
            <p:cNvCxnSpPr>
              <a:cxnSpLocks/>
            </p:cNvCxnSpPr>
            <p:nvPr/>
          </p:nvCxnSpPr>
          <p:spPr>
            <a:xfrm>
              <a:off x="-15836" y="1028729"/>
              <a:ext cx="8993110" cy="0"/>
            </a:xfrm>
            <a:prstGeom prst="line">
              <a:avLst/>
            </a:prstGeom>
            <a:ln>
              <a:solidFill>
                <a:srgbClr val="D9D6D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52" name="Straight Connector 51"/>
          <p:cNvCxnSpPr/>
          <p:nvPr/>
        </p:nvCxnSpPr>
        <p:spPr>
          <a:xfrm>
            <a:off x="1524270" y="912179"/>
            <a:ext cx="917577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463595" y="1787703"/>
            <a:ext cx="3363137" cy="3893905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4323" tIns="74323" rIns="74323" bIns="74323" anchor="ctr" anchorCtr="1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Arial" charset="0"/>
              <a:buNone/>
              <a:tabLst/>
              <a:defRPr/>
            </a:pPr>
            <a:endParaRPr kumimoji="0" lang="en-US" sz="1122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271829" y="293144"/>
            <a:ext cx="8096417" cy="527301"/>
          </a:xfrm>
        </p:spPr>
        <p:txBody>
          <a:bodyPr/>
          <a:lstStyle/>
          <a:p>
            <a:r>
              <a:rPr lang="en-US" sz="3200" b="1" dirty="0">
                <a:solidFill>
                  <a:srgbClr val="0070C0"/>
                </a:solidFill>
                <a:latin typeface="Calibri" panose="020F0502020204030204"/>
              </a:rPr>
              <a:t>Why the Kenya Nutrition Scorecard </a:t>
            </a:r>
          </a:p>
        </p:txBody>
      </p:sp>
      <p:sp>
        <p:nvSpPr>
          <p:cNvPr id="22" name="AutoShape 8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 rot="10800000" flipH="1" flipV="1">
            <a:off x="1796986" y="1132587"/>
            <a:ext cx="2666608" cy="634676"/>
          </a:xfrm>
          <a:prstGeom prst="rightArrow">
            <a:avLst>
              <a:gd name="adj1" fmla="val 70310"/>
              <a:gd name="adj2" fmla="val 42779"/>
            </a:avLst>
          </a:prstGeom>
          <a:gradFill>
            <a:gsLst>
              <a:gs pos="0">
                <a:srgbClr val="0E5976">
                  <a:lumMod val="86000"/>
                  <a:lumOff val="14000"/>
                </a:srgbClr>
              </a:gs>
              <a:gs pos="100000">
                <a:srgbClr val="0E5976">
                  <a:lumMod val="61000"/>
                  <a:lumOff val="39000"/>
                </a:srgbClr>
              </a:gs>
            </a:gsLst>
            <a:lin ang="135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77748" tIns="77748" rIns="77748" bIns="77748" numCol="1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0917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ational level</a:t>
            </a:r>
          </a:p>
        </p:txBody>
      </p:sp>
      <p:sp>
        <p:nvSpPr>
          <p:cNvPr id="16" name="Rectangle 286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983617" y="3430093"/>
            <a:ext cx="1081002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Arial" charset="0"/>
              <a:buNone/>
              <a:tabLst/>
              <a:defRPr/>
            </a:pPr>
            <a:r>
              <a:rPr kumimoji="0" lang="en-US" sz="1428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ational Level</a:t>
            </a:r>
          </a:p>
        </p:txBody>
      </p:sp>
      <p:sp>
        <p:nvSpPr>
          <p:cNvPr id="30" name="AutoShape 8" descr="data:image/jpeg;base64,/9j/4AAQSkZJRgABAQAAAQABAAD/2wCEAAkGBxITEhUUExQWFhQUGBkYFxgYGRodGhodFhwYGhcYFhcYKCggGhwoHR0YITEhJSkrLi4uGB8zODMsNygtLi0BCgoKDg0OGxAQGy4kICQ3LzQ0Nyw0NCwsLTQsNCwsLDcvLCwuLCwsNDQsLywvLi0sLCwsLCwsLCwsLCwsLCwsLP/AABEIAHoBnQMBEQACEQEDEQH/xAAbAAEAAgMBAQAAAAAAAAAAAAAAAwQCBQYHAf/EAEcQAAEDAQUDCgIGCQMCBwAAAAEAAgMRBAUSITETQVEGIlJhcYGRkqHhMrEjU3KCwdEUFTM0QmJzssIHorND8SQlY3ST4vD/xAAbAQEAAgMBAQAAAAAAAAAAAAAAAgMBBAYFB//EADkRAAIBAgQCBwUIAgMBAQAAAAABAgMRBBIhMUFRBRNhcZGhsTKBwdHwFCIjNEJS4fEzcoKywkMk/9oADAMBAAIRAxEAPwD3FAEAQGsv++GWaPG7NxyY3ifwHErYw2HlXnlXvNPG4yGFp55b8FzPM7zvqeckyPND/CDRo7G/nmuio4alSX3V8zjcRjq9d3nLTktvAgsN4Swmsb3NPUcj2jQ96nUowqK01cqo4mrRd6cmvrkel8l79FqjNQBIygeBpno4dRXPYzCuhLTZ7HZdG49YqnrpJb/M3a0z0QgCAIAgCAIAgCAIAgCAIAgCAIAgCAIAgCAIAgCAIAgCAIAgCAIAgCAIAgCAIAgCAIAgCAIAgCAICned5xQMxyuoNw3k8AN6to0Z1ZZYIoxGJp4eOao7FS5bfLaPpS3Zw/wA5vf/ADOOgb1DxprbiKUKP3L3lx5IowlepiPxLZY8Ob7exfV7b8Ty8tZfai3dGA0DtAcT6jwXsdG01Gjm5/0c303Wc8S48I289TnV6B44QG95FWgstcdNH4mHsIJHqAtLpCClQfZqep0PUcMXFLjdfXvR3N83lLZjtC3aQH4qZPZ18HN8O1eLQowrfdTtLyfyOnxeJqYb77WaHG26+a+rl+7rwjnZjjcHD1B4EbiqKtKdKWWasbNDEU68c9N3RaVZcEAQBAEAQBAEAQBAEAQBAEAQBAEAQBAEAQBAEAQBAEAQBAEAQBAEAQBAEAQBAEAQBAEAQBAUb6vRlniMjuxo3uJ0AV2HoSrTUUa2LxUMNSdSXu7Wec2FstvtbdoSamruDWDUNG4bu0r36jhhKDy/2zkaKqdIYpdY+/sXZ6HqUbA0AAUAFABuA0C5ttt3Z2ySSsjzjl9YSy07SnNlANetoDSPAA966DoyqpUsvFHIdOUHDEdZwl8NDmV6J4oQHQ8hbEZLU1/8MQLiesgho8c+4rz+kaqhRceLPX6FoOpiVPhHX4I9LljDgWuAIcCCDoQdQVzybTujsZRUk4yV0zzS2slu61HZk4Dm2ujmk/C7rGle/euhpuGMo/e39GcfWVXo3E3hs/Ncn3fyeh3VeDJ4myM0Oo3gjUHrXhVqMqU3CR1eGxEMRTVSGzLaqLwgCAIAgCAIAgCAIAgCAIAgCAIAgCAIAgCAIAgCAIAgCAIAgCAIAgCAIAgCAIAgCAIAgCA805d3iZLRswebFl945uPyHcuh6No5KWbizjum8S6lfq1tH14/I3P+nFioySU6uOAdjczTtJ/2rU6VqXkoctT0egKFqcqr46eH15HSXrejIG1dmT8LRqfyHWvBxGJhQjeW/I96U1EwtVhZaYA2ZvxAOy1aSNWniFtYXEVKdqi0ZTiMPDE08lRfx3HE2/kPaGk7Mtkbuzwu7wcvVe7S6TpSX39H4nM1+gq8X+G1JeD+XmfLDyItLiNoWxt354j3BuXqs1Ok6UV93XyMUegsRN/iWivF+XzO7um647PGGRjLUk6uPEleLXrzrSzSOnwuFp4eGSH9mFnvNpldC/mvBy4OGoI66bloQxKdR0paP1LVPWzNZy6u7a2cvA50XOHZ/EPDP7q9jo6tkq5eD+keZ0zhlVw7kt46+7j9dhzv+n94lkxiJ5soy6nNFfUV8AvQ6To5qedbr0PI6CxLhWdJ7S9V/HwPRV4B1oQBAEAQBAEAQBAEAQBAEAQBAEAQBAEAQBAEAQBAEAQBAEAQBAEAQBAEAQBAEAQBAEAQBAeLWybHI9/Sc53mJK6+nHLBR5HzqtPPUlPm2/E9P5LtEVijJ0DC895Lj81zPSFRddOT4fA7boyChhId1/HU5O12l00uJ2riABwG4BcbUqSrVMz4km3JnooFF1Jun1AEAQHJcsY8MsbxkSNRxaag+q8XpOOWpGS+rGvW0aZu7rtItFn52pBY/tpQ+Iz716eDxDqQU+K9UWK1SDT4nl92OMdpj4skaD3OoV2VZKdGXajhMM3SxMexr1PYlyh34QBAEAQBAEAQBAEAQBAEAQBAEAQBAEAQBAEAQBAEAQBAEAQBAEAQBAEAQBAEAQBAEAQBAeJSswkg6gkeC7FO6ufN5xcZOL4HpTH/APljafVMHyBXGdL3Sq+87rCP/wDJDuRzNh/aR/bb8wuWpf5I969TMd0ekrqzdOWvTlM4OLYQKDLEc69g4Lx8R0lJSy09uZRKrroZ3TymLnBswArkHDIfeH4qWG6RcpZaniIVb6M6ZesXnKctZOdG3gHHxpT5FeN0rL70V3mvWexPyLJwScMQ+Wf4Kzov2Zd5KjszhXtxWwgb5zTveu/Tth9eXwOJks2MsuMvievLlTvDCaVrGlzjRrQSSdwGpWYxcnZbkZSUIuUtkaxt5TuGNlnJYcxieGvI4hlKDsJC2XRpxeWU9e668f4NRYitJZo0/u9rs37rerRPab0DGMOB5fLkyOgDyaVINchQak6KEKDlJq6st3w+uROpilCMXZ3lsuP8W4kD71kjoZ4cDCQMbXhwbXIY8gQK7xUKaoQnpTld8mrX7tyt4qpT1rQtHmndLv0Vu/Ultt7NimjicMpAeduBqAAe0mleNFGnh3OnKa4E6uLjSrRpyXtcRfV7Ns7QSC5zjRrRruqTwA49Y4rGHw7rNpaJGcVi44eKurt8PXwFqvdsc7IXAjaNqHbga0DT28eNAsww7nSdRcOBipi4068aUlvx+HvF8Xs2AMqMTnuADRwJALjwAqO8hYoUHVvwSM4rFRoZbq7bt/JPJa6TNip8THPrXTAWilPveigqd6bnyaXjf5Fjq2qqnbdN+FvmUZr0na9jDZxWQkN+lH8ILjXm5ZBXxoUpRcs+3Z/JrTxNeMoxdPfb73LXkW3WifACIQXkmrdoKAbjipnu3KpQp5ms2nd/Je51siagr8r/ABsVrvvKaU/sAGh7mOO0BoWEtdQUzzCnVo04L2tbX25+8qoYmrVfsWV2nry0fAsMvGonOH9gSNfiowP7taKDo2cNfa+dixYi6qO3seeiZ9ui8mzxh4BadHNOrTrQ91CDvBSvRdKWV/2Zw2IjXhmWnNcjBl6s2LpXjC1rntpqSWvLBTiSRkOtZdCXWKC1vbzVyKxUeqdSWiTa8HbzIv0+0UxGzHDwEjTJT7FKV6sSl1VLbPr3aeO/kQ6+uvvOlp3rN4beZtHE0yGfBayNx7GndeloEjYzZ24nNc4fSilG0Bzw9YW2qFJxcs+i7OfvNF4qupqDpq7u/a5W7O0tWm8TGxmJhMrzRsbSCSdaA5CgGZJyCrhRzydnouLLqmI6uKzR+89ktdfL3sgfekkdDPDgjJAL2vxhtchjFBQdYqFNUIT0pyu+TVr925U8VUp61oWjzTvbv0Vu/U2y1TeNU29JJCdhDjY0kY3PwBxGRwZEkVyrkFs9RCFuslZ8kr+OxpLFVKjfUwulxbsnblo7+Rm68yGNc6JzS6RkZa4jIvcG4gRUEZ161hUE5NKV9G/BXJvEtQUnFptpWfa7e8sXnbNlE6SlcNMq01IGveq6VPrJqPMsxFXqqbna9gbZ9MIqaxl9a9FzW0p3p1f4eftt6h1rVVTtum/BpfEXda9qzFSnOe2la/A5za99KpVp5JW7vNXFCr1sM1rateDa+BDeFveyRkbI8bnhzs3YQAzDXceKnSpRlFyk7JW4X3K61eUKkacI3bu97bW+Z8gvM4xHLGYnO+A1DmupmQHDf1EBJUVlcoO6W/Br3CGJedQqRyt7cU/f8y1brU2KN0jq0aK0Gp4Adarpwc5KK4l1aqqUHN8CrDbJ8Tcdno1xpVsgcW/bFB6EqyVOlZ5Z691vD6RTCtWzLPTsnyd7d608rk9ltmOSVlKbItFa64mh3dqoTp5Yxlz+diynWzznC3s280mDbPptlT/p7Stf5sNKJ1f4eftsOu/F6u3C/nYoWS9p5I2yNs4LXCo+lFadhAz71fOhThJxc9V2GrSxVapBVI09H26+hML4aWwvDTglfgJORY7MAOH2gW660UPs7TlG+qV+9f1qWfbIuMJJaSdu59vv07yxedt2TMVMRJa1ra0xOcQAKqFKn1krbfwXYit1UM1rvRJc29EfHW07V8YbUtjbIM9S4vAbpl8OvWiprIpt7u3p8zDrPrHTS1ST8bq3kZ3dbBLG2QCmIabwdC09YNR3LFWm6c3F8CVCsq1NTXH6Zjd1s2rXOAo0Oc1pr8QaaYuoVr4LNWn1bS428DFCt1qcktLtLttxILJezXzPiwkBtcLtz8BAkA+ySApzw7jTU7/xfbxKqWLU6rp222fO2/gyxPbMMscdP2gea10wYd2+uL0Vcad4Snyt5ls62WrGnb2r+VvmWlWXHknKiybK1St3FxcOx/O/GncuowdTPRi/d4HCdJUeqxM1zd/HU7XkodtYNnXMY2d9SW+hC8HpajmqTj+5fXmdN0RPrMGlyuvr3M5gEtPAtPgQuI1i+1F+x3tptWKzOkZvjJHVkfl+C6SpVzYdzjyNtu8bo4BcyagQHoN1z/8Ah2PeacwEk9Q1K6fDz/AjKXI3Iv7t2cVe1t20rn7tG9g0/PvXgYmt1tRz8O41ZyzO51Fxx7Cyl7sqh0h7KZegHivc6NoNU4rjL47FuZU6Tk+Gpw3JGzGW2MJ/hJkd93Mf7qLsMdNU8O1z0+vccf0XTdbFxb4av677Hqi5o7c13KCzufZ5GtFXEVA6WEglveBTvV+Gmo1Ytmrjacp0JRirv1trb3ksF6Quj2ge0NpnUgYeIcDoRwUZUKkZZbak4YmlKGdSVvTvNfbLUxs0FoJ+hcx7MZyDS/AWudXQHCRXrCvpwk6c6S9q6dudr3NWrVjGrTrv2Gmr8r2avyvaxLyhtbDA+MEOfM0sjaCCXFwoCBwGpO6ijhacusUnoo6t9xPHVY9S4LVyVkud/q5DabG19oZFJzgbM9ruvnR59u9ThUcaTnH9y9GVVKMZ14056pwa84lW33c9lnlfM/aSUaxruDGvbT7zvid19isp1oyqxjBWW/vt8NkV1MPOFGc6rvLRLuTXm9329xcttlbLajG8Va6zkH/5BQjgQaEHqVVObhRzR3UvgX1qUauJyS2cfiinb7veyB75nh8pdC3FwY2VmEAbifiPWeoK2nVjKoowVo2k/e0/6Rr1sPOFFzqu8rxV+xSVvHd9ps5/3yL+jL/dEteP5eXevRm5P81D/WXrEXl+8WX7Un/G5KX+Kp7vVCv/AJqXe/8AqzaLWNw1fJ74JP683/I5bOK9qPdH0NPBexL/AGl6sqw/Dbvtv/4mKyW9LuXqymHs4jvf/VHxtncyOK0RAlwiYJGD/qMDRoOm3UHtG9HNSlKlPa7s+T+T4+Jjq5QhCvTWtldfuXzXDwKcTsVkjlbVzGWl0pABqWCV5Jp1Ah1P5Vc1lruD3cbe+y/o14vPhY1Y6pTcvdmf9+42d7WqsRljtIY0NJFNmQ46jNwPZQLXow+/klC79+ngbmJqrq+thVsrdjT8UzYXe9zooy74ixpdlTMgVy3ZrXqpKbS2uzaoSlKnFy3silaf3yH+lL/dEro/l5d6+Jr1PzcP9ZesTC9ZBHPDK/KMB8ZduYX4S0u4A4SK9YWaKc6UoR30ffa5HEyVKtCrP2dVfle1r+FrmV/2tmwewEOfK0sYwEEuLhQUHDfXdRMNTl1ik9EtW+ViWNqw6mUFq5KyXO5fjhIjDK5hobXrpSqock55jZjFqGXsNdydtTBC2IkNkhAY9pNCC3KtOB1B61sYqEnUc1qpapmpgasFRVN6Sjo13fPe5FfdoZLEzZvy/SIm4m7jtGirScjTvCzh4SpzeZfpfoRxVSNWkskv1RV13rbgQ3/YHts7ybRK4CnNcI6HnDWjQfVTw1WLqpKCXj8yvG0JxoSbqSe29ufcXn/vrP8A27/741Svy7/2XozYl+bj/q/WJhyftDBEQXNB2k2RI+tes4mEnPRcI+iMYOpBU7NreX/Zi2StFqgJcKGOXOoprHvSnF9RNW4r4mKs4rFU3fS0v/JjetobK+KKMhzxKyR2E1wNYakuI0roBvqs0YSpxlOSsrNd7ZjE1I1ZQpwd3dPTglrr6GwvPZbJ+2psyKOrWlDlu07dyopZ86ybm1iOr6tqr7PE1Ej3QbMx2gyse9rBG8tcSHECrHijshnnXILaSVXMpQs0m7rTbmtjRk5UMrhUzJtKzs735Na6e8s2OVrLVaGvIBkwPZXLEA0NNONCPUKuonKjBrhdPxuW0pKGJqRk7ZrNdulvgIJBJa5HMILWQhhI0xFxdhrxApXtCSThQSlu3f3CElUxUpR1Sil77tmru4WptijfHI0tDQcAj54bXnYXEkOcBWlRmtmr1MsQ4yWt976em3vNKh9pjg4zhJWtslrbjZ3s3y01NtHd8Ulk2cbiWPbVryanETiDyeOLPtWq6s4V88lquHlbwN+OHp1ML1cHo1o+3e/ffUq3daTaZIy4U/R21kH/AKxq0j7oDj94K2rBUINL9W3+u/np4FNCo8TUi3+ha/7beWvii5H++v8A6Ef98qqf5df7P0RsR/Ny/wBV6yNdbJnQPlhZkbQQ6DqdIQ2Xynn95V8IqrGNSX6d+5arx2NSrOVCU6Ud56x73pLw9r3mytr/ANHs4bGOcA2OIcXHmt/M9hWvTXXVbz23fdxNqq/s9BRp76Jd+y+bNTNFPFFERAB+jc7EJAS4UO1yoKlwJPbRbUZUpzleftabeHHgaUoV6VKLVP2Nd7t/u4cdfeX7XaGG02V+IYXRzEGuRBEZCohCSo1I21uvibNWpF4ilK+jUv8AybT9Lj6bfMFr9XLkzc62H7l4nK/6g3VjY2dozjyf9k6HuPzXpdGV8snTfHbvPE6cwmeCrR3jv3fwUv8ATi20fJCf4gHt7Rk70I8Fd0rSvGNRcNDX6Ar2lKk+Oq+JY5U2DBLjA5smfY7eO/XxXC9IUMlTOtn6nu1Y2dyzyTt4zgfo6pbX/c3v18Vd0dXWtGXHb4olSl+lle8uTcrHHZjGzdmKjqIOvaFVX6PqRl9xXXmYlSa2Pl38nJXuG0GBm+tKnqAH4rFHo+pN/fVkYjSb3JOUd6A/Qx5RsyNN5G4dQ+aljsSn+FDZGak/0opXDd+2lAPwNzd2bh3/AJqjB4frqlnstyNOOZm45eXhs7Psx8Upw/dGbvwHeu06No56ubhH6RpdNYjq8PkW8tPdx+XvI+QN1bOIyuHOlpTqYNPE59lFPpKvnnkWy9SHQmE6ql1st5en8/I6peYe2EBVku6FzsZijL+kWtr4qxVqijlUnbvKZYelKWdxV+dlcsuaCKEAg6g6KCdtUWtJqzK9mu+GMkxxsYTqWtAPopzqznpKTfeVU8PSpu8IpdysT7MVxUGKlK0zod1eChd2sW5Ve9tRJGHCjgCDuIqPBE2ndCUVJWY2YrioMVKVpnTWleCXdrDKr5raiSMOFHAEZZEVGWY9UTad0JRUlZoGMVDqDEAQDTMA0qAeGQ8Eu7WMZVfNbUOjBIJAJboaZiuRpwyRNpWMuKbTfAyWDJjHGG/CAKkk0FMzmT21WW29zEYqOyPghbzuaOd8WQzypnxyyTM9NdjGSOum+/aZNaAAAKAZALDd9WZSSVkfI4w0UaABmaAU1zPqstt6sRioqyVis27YA7GIow/XFgbXxVjrVGsuZ27ypYaipZ1BX52Vy2qi4xMYqHUGIAgGmYBpUA9w8Fm7tYjlV81tT65oIoRUHUFYTtsZaTVmV7Nd8MZJjjYwnUtaAfEKydWpNWlJsqp4elTd4RS7lYsqsuK1psEUhBkjY8jQuaD81ZCrOGkZNdxTUw9Ko7zin3q5KYG0AwijSCBQUBbmCBuoo5ne9yxwi0lbRfDYykjDhRwBB1BFR4LCbTujMoqSs1cbMVxUGKlK0zprSvBLu1hlV721KzrrgJJMMZJzJLG/krFXqrRSfiUvC0W7uC8EZSWCJwaHRsIaKNBaCAOAG5YVWabak9SUqFKSScVZbabEsFnYwUY1rRwaAB6KMpyk7ydyUIRgrRSXcZkKJMrwXfCx2JkTGuO8NAPiFZKrUkrSk2imGHpQlmjFJ9iM7TZY5BSRjXjg4A/NYhUlB3i7dxKpShUVppPv1MoYWsGFjQ1o0AAA8AsSk5O7d2ShCMFlirLsMo4w0ANAAGgAoB2BYbbd2ZjFRVkrI+RRNaKNAaMzQCgzzJyRyctWYjGMVaKsI4mtrhAGI1NBSp4niUcm92IwjG9la592YrioMRFK0zoKkCvDM+KXdrcBlV81tT4+FpIcWgltcJIzFcjQ7skUmk0nuHCLabWq27A+NpIJAJaaio0OlRwNKom1sHFOza2MysEivJYInANdGwhvwgtBA7BuViqzTbTepVKhSkknFWW2mxH+qrP9TF5G/ks9fV/c/Eh9kofsj4ItSMBBBFQRQg7wdQq02ndF7Saszzi9Lufd9pZKwExYqtPUfijJ40rTj4r36NaOLouEva+tTkcRhpdHYmNWHs30+K8Du7bZ2WiGgNQ8BzHderSuaxOH6yLpy39GdXeNSCa2ZwTg6N9Phew+BC5hqVOXJo1dUzv7qtomia/fo4cCNR/+4rpcPWVampG5GWZXK/KO37KE0+J/Nb1cT4fgqsdX6qlpu9CNSWVHCLnTVO9uSwiCEVoHHnPPvwAXS4PD9VTUeL3NqCUI6nMQ2R142oyuBFmjOFv8wG4dpzPVQLopVFg6ORe2/L64HPwovpHE9bL/ABx0Xb9cfA7gCmQXjHSLQ+oDF5NMhU8NFh3toCLaSdAeb2UM0+XmYuxtJOgPN7Jmny8xdjaSdAeb2TNPl5i7G0k6A83smafLzF2NpJ0B5vZM0+XmLsbSToDzeyZp8vMXY2knQHm9kzT5eYuxtJOgPN7Jmny8xdjaSdAeb2TNPl5i7G0k6A83smafLzF2NpJ0B5vZM0+XmLsbSToDzeyZp8vMXY2knQHm9kzT5eYuxtJOgPN7Jmny8xdjaSdAeb2TNPl5i7G0k6A83smafLzF2NpJ0B5vZM0+XmLsbSToDzeyZp8vMXY2knQHm9kzT5eYuxtJOgPN7Jmny8xdjaSdAeb2TNPl5i7G0k6A83smafLzF2NpJ0B5vZM0+XmLsbSToDzeyZp8vMXY2knQHm9kzT5eYuxtJOgPN7Jmny8xdjaSdAeb2TNPl5i7G0k6A83smafLzF2NpJ0B5vZM0+XmLsbSToDzeyZp8vMXY2knQHm9kzT5eYuxtJOgPN7Jmny8xdjaSdAeb2TNPl5i7G0k6A83smafLzF2NpJ0B5vZM0+XmLsbSToDzeyZp8vMXY2knQHm9kzT5eYuxtJOgPN7Jmny8xdjaSdAeb2TNPl5i7G0f0B5vZM0+XmLsnVhkitVnZI0se0Oa7IgqUJyhLNF2ZCpTjUi4zV0ypc9gdA0x4sUYNY6/E0HVp40Oh6+pW16qqvPaz4/MowtB0I9Xe8eHNdnyNPyuu7SZo4B/wDifw8F4PSWH/8Aqvf8CdaPErckbZhlMZ0kGX2h7V8Aqeja2Wpkez9SNGVnY+8spqysbua2ve4mvyCz0pO9RR5L1/oVnrYp8m7LtJ210Zzz3aepCowNLrKyvw1+veRpq8jr7zsZmGzLsMZ+OnxOHQB3A7zwy3rqaNRU3mtrw7O0niKLrLI3aPHm+z5+BZghaxoa0BrWigA0CrlJyd3uXQhGEVGKskSKJIIAgI7RO1jS55AaNSetRnOMFmk7Iw2luIJmvaHNILToQkJxms0XdBO+xIpGSOedrG4nkNaN561Gc4wWaTsjDaW5V/XFn+tZ4qn7XQ/ejGePMuRvDgCCCDoRmPFXppq6JFM3vAMtqzLrVDxdFfqRHPHmTWa3RSZMe1x4AivgpwrU56RkmZUk9iwrTJRmveBpo6RterPxoteWKoxdnJEXOK4lqCdrxVjg4cQaq6E4zV4u5lNPYwtVsjjpjcG10qeCjUqwp+27ByS3JgVYZIJbbG1wY57Q51KAnM1NB6quVanGSi2rsw5JOxlabWyOmNwbXIVSdWFP2nYNpbkrnACpNANSpt21Zkoi+bPWm1bXty8dFQsXQbtmRDPHmXXPAGKuQFa7qcVe2krkyn+uLP8AWs8VR9rofvRHPHmSWe8InnCx7XHWgKlCvSm7RkmwpJ7FpXEirPeULHYXSNa4bieKpniKUHaUkmRcktz5FecLjRsjCToKhI4mlJ2UkFOL4liaVrQXOIAGpKslJRV5bGW7FT9cWf61niqftdD96MZ48yazW6OQkMe1xGtCp061Oo7QaZlST2PsVsjc4ta4FzdQDmKGh9VmNWEpOMXqgpJ6Ek0rWgucQANSVKUlFXlsG7GLbSwsxhwwUJxbqDUrCqRcc6egurXK364s/wBazxVX2uh+9GM8eZLZ7wikOFj2uNK0BU4V6c3aMk2FJPYys9rjeSGODi3UDd2+BWYVYTbUXexlST2PtqtTIxV7g0E0qVmpVhTV5uwbS3JQVMyQw2uNznNa4FzfiA3bs1XGrCTcYu7RhNMhde8AJBlbUZHPgq3iqKdnJGM8eZ9jvWBxAEjSSaAV1WY4mjJ2UlcZ48yS026KMgPe1pOYqVKpWp03abSMuSW5hFekDjQSMJ4VCjHE0pOykjCnF8S2ryQQBAEBHaIQ9rmnRwIPeozgpxcXxMNXVjzmF5jeDvY7+05rloydOafJ+hprRm25XD6YHc5jSPFy3Okl+MnzS+JZW9oscihz5D/K31J/JW9Fe1L3fEzR3Z1i9o2AgCAIAgOe5QOMssVnbvOJ/UP+1T4LzMa3VqRoLvf19cCmpq1Ecm5DHJJZ3fwkub2b/wAD3lMDJ05yoS4ar68xT0bidCvTLjU8qf3Z/a3+4LS6Q/wP3epXV9kiu65oHwxudGKuY0k1OpAqdVChhKM6MXKO6RiMIuK0K3JZ1JJo2msbTl4kA94+Sq6PeWpOEXeKMUt2iDk9YYpHTbRodR2Va7y5V4KjTqSnnV9fmRpxTvcx5QWSOF0boebJi0BPcabs8uuqjjaVOjKMqWkhUSi1Y2HKm2Oa1kbMnSmh7BQU7yR6ra6QqyjFU47yJ1ZNKyJ7HyfgY0BzA87yfw4KylgKMI2au+0yqcUjV2qH9DtDHRk7OQ0La9YqOulahadSH2SvGUPZf1/RW1kldbE3LFtdiOJcPHCrOk1fIu35Ga3AXTe2xY+KbJ0On8w3NHpTqI4JhsV1UZU6u8fP69DMJ5VZ8DUsEjp4ZZNZZGkdgc0Du4di0lnlVhUn+pr1RXrmTfE2/LP4YvtH5Le6U9mPeWVtkWOVwdsObpiGLsz16q0VnSWbqfu89frvM1b5SrZGWCRgbRrXU3mjq/a3qqmsHUio6J+D8TC6to277M2OzuY3RrHfI5lbrpxp0HCOyTJ2tGyOduNtk2X02HHU6k1plTReXhFhur/FtftKoZLam8uuGy4i6HDiAzIJyB7exejh44fNela/YWxUeBtFtkzmJ7OyS3ua8VbhGR6mheTOnGeNcZK6sUNJ1NSS/wC67OyFzmgNcKYaE556UOqzjMNQhSckrMzUhFIklkc676u1wDXeK5HwopuUpYK8uQd+r1Kd1tsWyZtMGOnOqTXUqnDrCdWs9rmI5Lam7uqGz5ugDeBIr20zW/h40NZUre4sio/pOWc2QTzyx6xPcT2Fzge0cV41qirTqQ/S36so1zNrgb+3W5s1je9vRoRwNRUFenVrRrYWUo8i2UlKFzGxfuB/pSf5LFP8l/xfxEf8ZrLlbY9kNtgx1Nak1pXJamFWF6tdZa5CGS2pvLrhsuIugDagUJBO/t7F6GHhh7uVK1+wtio/pNcwbG3U/hmHqf8A7A+Zaq/BxluEvr19SHs1O8i5T4pZWxMzwMc89tK/IAfeUMfmq1VTjwTf19cTFXV2RsLpvEfomM6xtIPa3TxFPFbOGxC+zZ3wXoSjL7lyPklZyIjIfikcTXqGXzxKPRtNqm5veX18xSWlzVXWLPtJ9vh+Pm4q8X1pTuWnh+o6yp11t9L97K45bvMbmxQ2IvGzwF4zFCa5b1v0oYRzWS1y1KF9Cpf0QdaoGuFQRQjvKpxkVLE04vYjUV5ovWnk7Z3NIDcJ3EE5dxyKvqdH0ZKyViTpRZq7ovh0QdFKamM0B14inYKeq1MNi3TTp1OBCE2tGdUvYLwgCAIDzS1Oq953Fzj4krk6jvKT7WaL3Oi5UWU7GF+9oDXd4H4j1XqdIU31UJ8tPEvqrRMg5GyUle3iyvgR+ar6Llao1zXp/ZGi9TsF7hshAEAQGE0ga0uOQaCT3KMpKKbfAN2OSu6C0yufaI3NaXkjncMshUHIZDuXi0IYirJ1oNK/P+ma8VJvMhb4bTDIy0SlriCAS3hnkaAbqiqVoV6M41qjT7v6QkpReZnXRvDgCMwRUd69uLTV0bBq+VP7s/tb/cFp9If4H7vUrq+ya6w8ng+JjjK8BzQcI0zFaBatHAKdOMnN6ohGldbm9u+wMhbhYO0nU9pXo0aEKMcsS2MVHY5e57pZO6XE5wwuywkbydagryMNhY15TzNqz4f0UQgpXuSXZZmQWrBK0En9m8+mWmenUQpYenGhiMlRdz+vq5mKUZWZsOVdlcWslZmYjU9hoa9xA8Vs9I0pNRqR/STqp7rgW7HfsD2gl7WHe1xoQequvcr6WNozjdyS7ySqRaNRbZv0u0RsjzjjNXO7xX5UC0qs/tdeMYeyt2Vt55JIscrfig+0f8VZ0j7VPv8AkZq8C7etyNmex5yoaP8A5m8O2uXYT1K/EYONacZePaiUqak7lG/2gWiygaBw/uYtfGq1eku34ojU9qI5Z/DF9o/JZ6U9mPeK3A2153gyFoLwSHGmQr21W7iMRCjFOXEslJR3NReEdhexzg5jXUJGE0Nfsey0a0cHODkmk+zfw/grkqbVyS5HONifiro8Nrwp8q1U8I5PCPN22EL5ChcTbJsvpsGOp+I50yotbCfZur/FtftIwyW1N7dr7KHEQlmJ2oaczRehQeHTtStd8i2OXgbJbZM5S3WJs1ucxxIBaDVtK5NHGq8atRVbFuD5cDXlHNUsQW+62WaVjnAyQnWuoO+tKV49eYVVbDRw9SMpK8DEoKL12N/fhBsry2lC0UppSopReni2nh5NbWLp+yam6m2PZM2mzx051TnqdVp4dYTq1ntcrjktqbq7H2fNsBbxIae6q3sPKhrGlb3FkcvA1fJ/95tP2j/e5aeC/MVe/wCLIU/aZRvuxus5fs/2MwoRuB1p+XeFRi6MsO3k9mXl9cPAhOLjtsza2L9wP9KT/JblP8l/xfxLI/4zXXI2ybIbbBjqa4jnSuS1cJ9m6tdZa/aQhktqbu7H2YEthLKnMhp1p/3XoUJYdO1Jq/YWxy8CpysgOBkrfiicD3Gn44VR0jB5FUW8X9ediNVaXMOTLTI+W0OGbzhHUNT/AIjuUcAnUlOs+P18vAxT1bkaa2tfG+WzNGUj2lvfmB6t8q0aqlTlKhH9TVvr62K5XTcTtbNCGMawaNAA7l70IKEVFcDZSsrHJXULPtJ9vh+Pm4u19aei8XD9R1lTrbb6X72a8Mt3mNzY32JrwYzGHnIUOeeVFv0pYSMlkauWrInoU79kDbXA5xoBmSd2ZVOLko4mm3sRm7TRsLTf8DGkh4cdwbmT+S2KmOoxV81+4m6kUai6LpdKHSyCmN1QPEk9mfotLDYV1U6k+JVCF9WdWvZNgIAgK15WjZxPf0WmnboPWiqr1OrpylyIydlc4S6bJtZWM3VqewZn8u9c5hqXWVFE1YRu7HeW+yiWNzD/ABDwO4+NF0damqkHB8TbkrqxxdwPMdpYHZGpYR1mop40Xg4NuniEn3fXvNWnpI7xdGbYQBAEBHPC17S1wq06hRnBTWWWxhq+jEELWNDWijRoAkIRgssVZBK2iPloga9pa8VadQerNYnCM45ZK6DSejMoIWsaGtFGjQLMYqKyx2CVjG02dsjS14q07uzNYnCM45ZK6DSejMoow1oa0UDRQDgBopRiopJbIylYzWQQWWxxx1wNDcWZ61XClCnfKrXMKKWx8tdhjlpjaHU06vBYqUYVPbVw4p7k4CtMlCa5LO41MYr1VHoFrSwdCTu4kHTi+Bbs1mZGKMaGjqHz4q6FOMFaKsSSS2MbVY45MONodhzHUsTpQqWzK9g4p7k6sMkE9jje5rnNBcw1aeGYPzAVc6UJtSktVsYcU9T5a7HHJQPaHUzFfZKlKFT21cOKe5NJGHCjgCDqDmFOUVJWZncofqKz1rsx608NFrfYqF75SHVx5F4xNw4aDDSlN1NKLYyq2XgStwKP6js/1Q9fzWv9joftRHq48iWzXXDG7ExgDuOe9ThhqUHmjGzMqEVsXFeSIBY49ptMIx0pi9FX1UM+e2pjKr3MrRZ2vaWvAc07iszhGayyV0Gk9zAWKPZ7PDzOjn2rHUwyZLaDKrWK36js/wBWPX81V9joftRHq48ieyXdFGSWMDSRQ0r+KnToU6bvBWMqKWxlBY42Oc5rQHPzceOdfmpQowhJyitXuZUUtSSeFr2lrgC06gqU4RmssldBq+5iyysDNmG8yhFOo6hYVOKhkS0FlaxU/Udn+rHr+ao+x0P2oj1ceRNZbshjdiYwNNKVz3qynh6VN5oxszKglsWJomvaWuFWkUIVkoqScZbMy1cxs1nbG0NYKNG7tWKdONOOWKsgklojCSwxueJC0F7dD4/mVF0YOam1qhlV7lhWmTXvuWzkkmMVJqdd61ng6Ld3FEOrjyPsdzQNIcIwCCCDnqMwsrCUYu6iFCK4Etru6KQgvYHECgrX8FKpQp1HeauZcU9yOK6IGmojbXrz+ajHC0Yu6igoRXAvLYJBAEAQHN8srZRrYhq7nO7Bp6/JeV0nVtFU+epTWlpYtcmbr2TMbhz37uA3Dt3n2V2Aw3VQzS3fkZpQsrs3S3y05PlTYzHI2dm8ivU4Zg99PTrXi9IUXCarR+mjXqxs8yOphkDmhw0cAR35r2IyUoqS4l6dzNSMhAEAQBAEAQBAEAQBAEAQBAEAQBAEAQBAEAQBAEAQBAEAQBAEAQBAEAQBAEAQBAEAQBAEAQBAEAQGMkgaC4mgAJJ4AarEpKKbeyBoruu4yym0TClTWNh3AfCXD8OOa86hh3VqdfUXcvS5VGN3mZv16RaEBDa7O2RjmO0cKfkR171CpTjUi4y2Zhq6sVLja5sezf8AFES3tGrSOqh9FRhFKMOrlvHT5eRGGiszYraJhAEAQBAEAQBAEAQBAEAQBAEAQBAEAQBAEAQBAEAQBAEAQBAEAQBAEAQBAEAQBAEAQBAEAQBAEAQENqHN7x81CpsYZMpmQgCAICMDnHsHzKj+owSKRkIAgCAIAgCAIAgCAIAgCAIAgCAIAgCAIAgCAIAgCAIAgCAIAgCAIAgCAIAgCAIAgCAIAgCAID//2Q=="/>
          <p:cNvSpPr>
            <a:spLocks noChangeAspect="1" noChangeArrowheads="1"/>
          </p:cNvSpPr>
          <p:nvPr/>
        </p:nvSpPr>
        <p:spPr bwMode="auto">
          <a:xfrm>
            <a:off x="1683028" y="-147396"/>
            <a:ext cx="310991" cy="3109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2897" tIns="46453" rIns="92897" bIns="4645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Arial" charset="0"/>
              <a:buChar char="▪"/>
              <a:tabLst/>
              <a:defRPr/>
            </a:pPr>
            <a:endParaRPr kumimoji="0" lang="en-US" sz="1122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" name="AutoShape 10" descr="data:image/jpeg;base64,/9j/4AAQSkZJRgABAQAAAQABAAD/2wCEAAkGBxITEhUUExQWFhQUGBkYFxgYGRodGhodFhwYGhcYFhcYKCggGhwoHR0YITEhJSkrLi4uGB8zODMsNygtLi0BCgoKDg0OGxAQGy4kICQ3LzQ0Nyw0NCwsLTQsNCwsLDcvLCwuLCwsNDQsLywvLi0sLCwsLCwsLCwsLCwsLCwsLP/AABEIAHoBnQMBEQACEQEDEQH/xAAbAAEAAgMBAQAAAAAAAAAAAAAAAwQCBQYHAf/EAEcQAAEDAQUDCgIGCQMCBwAAAAEAAgMRBAUSITETQVEGIlJhcYGRkqHhMrEjU3KCwdEUFTM0QmJzssIHorND8SQlY3ST4vD/xAAbAQEAAgMBAQAAAAAAAAAAAAAAAgMBBAYFB//EADkRAAIBAgQCBwUIAgMBAQAAAAABAgMRBBIhMUFRBRNhcZGhsTKBwdHwFCIjNEJS4fEzcoKywkMk/9oADAMBAAIRAxEAPwD3FAEAQGsv++GWaPG7NxyY3ifwHErYw2HlXnlXvNPG4yGFp55b8FzPM7zvqeckyPND/CDRo7G/nmuio4alSX3V8zjcRjq9d3nLTktvAgsN4Swmsb3NPUcj2jQ96nUowqK01cqo4mrRd6cmvrkel8l79FqjNQBIygeBpno4dRXPYzCuhLTZ7HZdG49YqnrpJb/M3a0z0QgCAIAgCAIAgCAIAgCAIAgCAIAgCAIAgCAIAgCAIAgCAIAgCAIAgCAIAgCAIAgCAIAgCAIAgCAICned5xQMxyuoNw3k8AN6to0Z1ZZYIoxGJp4eOao7FS5bfLaPpS3Zw/wA5vf/ADOOgb1DxprbiKUKP3L3lx5IowlepiPxLZY8Ob7exfV7b8Ty8tZfai3dGA0DtAcT6jwXsdG01Gjm5/0c303Wc8S48I289TnV6B44QG95FWgstcdNH4mHsIJHqAtLpCClQfZqep0PUcMXFLjdfXvR3N83lLZjtC3aQH4qZPZ18HN8O1eLQowrfdTtLyfyOnxeJqYb77WaHG26+a+rl+7rwjnZjjcHD1B4EbiqKtKdKWWasbNDEU68c9N3RaVZcEAQBAEAQBAEAQBAEAQBAEAQBAEAQBAEAQBAEAQBAEAQBAEAQBAEAQBAEAQBAEAQBAEAQBAUb6vRlniMjuxo3uJ0AV2HoSrTUUa2LxUMNSdSXu7Wec2FstvtbdoSamruDWDUNG4bu0r36jhhKDy/2zkaKqdIYpdY+/sXZ6HqUbA0AAUAFABuA0C5ttt3Z2ySSsjzjl9YSy07SnNlANetoDSPAA966DoyqpUsvFHIdOUHDEdZwl8NDmV6J4oQHQ8hbEZLU1/8MQLiesgho8c+4rz+kaqhRceLPX6FoOpiVPhHX4I9LljDgWuAIcCCDoQdQVzybTujsZRUk4yV0zzS2slu61HZk4Dm2ujmk/C7rGle/euhpuGMo/e39GcfWVXo3E3hs/Ncn3fyeh3VeDJ4myM0Oo3gjUHrXhVqMqU3CR1eGxEMRTVSGzLaqLwgCAIAgCAIAgCAIAgCAIAgCAIAgCAIAgCAIAgCAIAgCAIAgCAIAgCAIAgCAIAgCAIAgCA805d3iZLRswebFl945uPyHcuh6No5KWbizjum8S6lfq1tH14/I3P+nFioySU6uOAdjczTtJ/2rU6VqXkoctT0egKFqcqr46eH15HSXrejIG1dmT8LRqfyHWvBxGJhQjeW/I96U1EwtVhZaYA2ZvxAOy1aSNWniFtYXEVKdqi0ZTiMPDE08lRfx3HE2/kPaGk7Mtkbuzwu7wcvVe7S6TpSX39H4nM1+gq8X+G1JeD+XmfLDyItLiNoWxt354j3BuXqs1Ok6UV93XyMUegsRN/iWivF+XzO7um647PGGRjLUk6uPEleLXrzrSzSOnwuFp4eGSH9mFnvNpldC/mvBy4OGoI66bloQxKdR0paP1LVPWzNZy6u7a2cvA50XOHZ/EPDP7q9jo6tkq5eD+keZ0zhlVw7kt46+7j9dhzv+n94lkxiJ5soy6nNFfUV8AvQ6To5qedbr0PI6CxLhWdJ7S9V/HwPRV4B1oQBAEAQBAEAQBAEAQBAEAQBAEAQBAEAQBAEAQBAEAQBAEAQBAEAQBAEAQBAEAQBAEAQBAeLWybHI9/Sc53mJK6+nHLBR5HzqtPPUlPm2/E9P5LtEVijJ0DC895Lj81zPSFRddOT4fA7boyChhId1/HU5O12l00uJ2riABwG4BcbUqSrVMz4km3JnooFF1Jun1AEAQHJcsY8MsbxkSNRxaag+q8XpOOWpGS+rGvW0aZu7rtItFn52pBY/tpQ+Iz716eDxDqQU+K9UWK1SDT4nl92OMdpj4skaD3OoV2VZKdGXajhMM3SxMexr1PYlyh34QBAEAQBAEAQBAEAQBAEAQBAEAQBAEAQBAEAQBAEAQBAEAQBAEAQBAEAQBAEAQBAEAQBAeJSswkg6gkeC7FO6ufN5xcZOL4HpTH/APljafVMHyBXGdL3Sq+87rCP/wDJDuRzNh/aR/bb8wuWpf5I969TMd0ekrqzdOWvTlM4OLYQKDLEc69g4Lx8R0lJSy09uZRKrroZ3TymLnBswArkHDIfeH4qWG6RcpZaniIVb6M6ZesXnKctZOdG3gHHxpT5FeN0rL70V3mvWexPyLJwScMQ+Wf4Kzov2Zd5KjszhXtxWwgb5zTveu/Tth9eXwOJks2MsuMvievLlTvDCaVrGlzjRrQSSdwGpWYxcnZbkZSUIuUtkaxt5TuGNlnJYcxieGvI4hlKDsJC2XRpxeWU9e668f4NRYitJZo0/u9rs37rerRPab0DGMOB5fLkyOgDyaVINchQak6KEKDlJq6st3w+uROpilCMXZ3lsuP8W4kD71kjoZ4cDCQMbXhwbXIY8gQK7xUKaoQnpTld8mrX7tyt4qpT1rQtHmndLv0Vu/Ultt7NimjicMpAeduBqAAe0mleNFGnh3OnKa4E6uLjSrRpyXtcRfV7Ns7QSC5zjRrRruqTwA49Y4rGHw7rNpaJGcVi44eKurt8PXwFqvdsc7IXAjaNqHbga0DT28eNAsww7nSdRcOBipi4068aUlvx+HvF8Xs2AMqMTnuADRwJALjwAqO8hYoUHVvwSM4rFRoZbq7bt/JPJa6TNip8THPrXTAWilPveigqd6bnyaXjf5Fjq2qqnbdN+FvmUZr0na9jDZxWQkN+lH8ILjXm5ZBXxoUpRcs+3Z/JrTxNeMoxdPfb73LXkW3WifACIQXkmrdoKAbjipnu3KpQp5ms2nd/Je51siagr8r/ABsVrvvKaU/sAGh7mOO0BoWEtdQUzzCnVo04L2tbX25+8qoYmrVfsWV2nry0fAsMvGonOH9gSNfiowP7taKDo2cNfa+dixYi6qO3seeiZ9ui8mzxh4BadHNOrTrQ91CDvBSvRdKWV/2Zw2IjXhmWnNcjBl6s2LpXjC1rntpqSWvLBTiSRkOtZdCXWKC1vbzVyKxUeqdSWiTa8HbzIv0+0UxGzHDwEjTJT7FKV6sSl1VLbPr3aeO/kQ6+uvvOlp3rN4beZtHE0yGfBayNx7GndeloEjYzZ24nNc4fSilG0Bzw9YW2qFJxcs+i7OfvNF4qupqDpq7u/a5W7O0tWm8TGxmJhMrzRsbSCSdaA5CgGZJyCrhRzydnouLLqmI6uKzR+89ktdfL3sgfekkdDPDgjJAL2vxhtchjFBQdYqFNUIT0pyu+TVr925U8VUp61oWjzTvbv0Vu/U2y1TeNU29JJCdhDjY0kY3PwBxGRwZEkVyrkFs9RCFuslZ8kr+OxpLFVKjfUwulxbsnblo7+Rm68yGNc6JzS6RkZa4jIvcG4gRUEZ161hUE5NKV9G/BXJvEtQUnFptpWfa7e8sXnbNlE6SlcNMq01IGveq6VPrJqPMsxFXqqbna9gbZ9MIqaxl9a9FzW0p3p1f4eftt6h1rVVTtum/BpfEXda9qzFSnOe2la/A5za99KpVp5JW7vNXFCr1sM1rateDa+BDeFveyRkbI8bnhzs3YQAzDXceKnSpRlFyk7JW4X3K61eUKkacI3bu97bW+Z8gvM4xHLGYnO+A1DmupmQHDf1EBJUVlcoO6W/Br3CGJedQqRyt7cU/f8y1brU2KN0jq0aK0Gp4Adarpwc5KK4l1aqqUHN8CrDbJ8Tcdno1xpVsgcW/bFB6EqyVOlZ5Z691vD6RTCtWzLPTsnyd7d608rk9ltmOSVlKbItFa64mh3dqoTp5Yxlz+diynWzznC3s280mDbPptlT/p7Stf5sNKJ1f4eftsOu/F6u3C/nYoWS9p5I2yNs4LXCo+lFadhAz71fOhThJxc9V2GrSxVapBVI09H26+hML4aWwvDTglfgJORY7MAOH2gW660UPs7TlG+qV+9f1qWfbIuMJJaSdu59vv07yxedt2TMVMRJa1ra0xOcQAKqFKn1krbfwXYit1UM1rvRJc29EfHW07V8YbUtjbIM9S4vAbpl8OvWiprIpt7u3p8zDrPrHTS1ST8bq3kZ3dbBLG2QCmIabwdC09YNR3LFWm6c3F8CVCsq1NTXH6Zjd1s2rXOAo0Oc1pr8QaaYuoVr4LNWn1bS428DFCt1qcktLtLttxILJezXzPiwkBtcLtz8BAkA+ySApzw7jTU7/xfbxKqWLU6rp222fO2/gyxPbMMscdP2gea10wYd2+uL0Vcad4Snyt5ls62WrGnb2r+VvmWlWXHknKiybK1St3FxcOx/O/GncuowdTPRi/d4HCdJUeqxM1zd/HU7XkodtYNnXMY2d9SW+hC8HpajmqTj+5fXmdN0RPrMGlyuvr3M5gEtPAtPgQuI1i+1F+x3tptWKzOkZvjJHVkfl+C6SpVzYdzjyNtu8bo4BcyagQHoN1z/8Ah2PeacwEk9Q1K6fDz/AjKXI3Iv7t2cVe1t20rn7tG9g0/PvXgYmt1tRz8O41ZyzO51Fxx7Cyl7sqh0h7KZegHivc6NoNU4rjL47FuZU6Tk+Gpw3JGzGW2MJ/hJkd93Mf7qLsMdNU8O1z0+vccf0XTdbFxb4av677Hqi5o7c13KCzufZ5GtFXEVA6WEglveBTvV+Gmo1Ytmrjacp0JRirv1trb3ksF6Quj2ge0NpnUgYeIcDoRwUZUKkZZbak4YmlKGdSVvTvNfbLUxs0FoJ+hcx7MZyDS/AWudXQHCRXrCvpwk6c6S9q6dudr3NWrVjGrTrv2Gmr8r2avyvaxLyhtbDA+MEOfM0sjaCCXFwoCBwGpO6ijhacusUnoo6t9xPHVY9S4LVyVkud/q5DabG19oZFJzgbM9ruvnR59u9ThUcaTnH9y9GVVKMZ14056pwa84lW33c9lnlfM/aSUaxruDGvbT7zvid19isp1oyqxjBWW/vt8NkV1MPOFGc6rvLRLuTXm9329xcttlbLajG8Va6zkH/5BQjgQaEHqVVObhRzR3UvgX1qUauJyS2cfiinb7veyB75nh8pdC3FwY2VmEAbifiPWeoK2nVjKoowVo2k/e0/6Rr1sPOFFzqu8rxV+xSVvHd9ps5/3yL+jL/dEteP5eXevRm5P81D/WXrEXl+8WX7Un/G5KX+Kp7vVCv/AJqXe/8AqzaLWNw1fJ74JP683/I5bOK9qPdH0NPBexL/AGl6sqw/Dbvtv/4mKyW9LuXqymHs4jvf/VHxtncyOK0RAlwiYJGD/qMDRoOm3UHtG9HNSlKlPa7s+T+T4+Jjq5QhCvTWtldfuXzXDwKcTsVkjlbVzGWl0pABqWCV5Jp1Ah1P5Vc1lruD3cbe+y/o14vPhY1Y6pTcvdmf9+42d7WqsRljtIY0NJFNmQ46jNwPZQLXow+/klC79+ngbmJqrq+thVsrdjT8UzYXe9zooy74ixpdlTMgVy3ZrXqpKbS2uzaoSlKnFy3silaf3yH+lL/dEro/l5d6+Jr1PzcP9ZesTC9ZBHPDK/KMB8ZduYX4S0u4A4SK9YWaKc6UoR30ffa5HEyVKtCrP2dVfle1r+FrmV/2tmwewEOfK0sYwEEuLhQUHDfXdRMNTl1ik9EtW+ViWNqw6mUFq5KyXO5fjhIjDK5hobXrpSqock55jZjFqGXsNdydtTBC2IkNkhAY9pNCC3KtOB1B61sYqEnUc1qpapmpgasFRVN6Sjo13fPe5FfdoZLEzZvy/SIm4m7jtGirScjTvCzh4SpzeZfpfoRxVSNWkskv1RV13rbgQ3/YHts7ybRK4CnNcI6HnDWjQfVTw1WLqpKCXj8yvG0JxoSbqSe29ufcXn/vrP8A27/741Svy7/2XozYl+bj/q/WJhyftDBEQXNB2k2RI+tes4mEnPRcI+iMYOpBU7NreX/Zi2StFqgJcKGOXOoprHvSnF9RNW4r4mKs4rFU3fS0v/JjetobK+KKMhzxKyR2E1wNYakuI0roBvqs0YSpxlOSsrNd7ZjE1I1ZQpwd3dPTglrr6GwvPZbJ+2psyKOrWlDlu07dyopZ86ybm1iOr6tqr7PE1Ej3QbMx2gyse9rBG8tcSHECrHijshnnXILaSVXMpQs0m7rTbmtjRk5UMrhUzJtKzs735Na6e8s2OVrLVaGvIBkwPZXLEA0NNONCPUKuonKjBrhdPxuW0pKGJqRk7ZrNdulvgIJBJa5HMILWQhhI0xFxdhrxApXtCSThQSlu3f3CElUxUpR1Sil77tmru4WptijfHI0tDQcAj54bXnYXEkOcBWlRmtmr1MsQ4yWt976em3vNKh9pjg4zhJWtslrbjZ3s3y01NtHd8Ulk2cbiWPbVryanETiDyeOLPtWq6s4V88lquHlbwN+OHp1ML1cHo1o+3e/ffUq3daTaZIy4U/R21kH/AKxq0j7oDj94K2rBUINL9W3+u/np4FNCo8TUi3+ha/7beWvii5H++v8A6Ef98qqf5df7P0RsR/Ny/wBV6yNdbJnQPlhZkbQQ6DqdIQ2Xynn95V8IqrGNSX6d+5arx2NSrOVCU6Ud56x73pLw9r3mytr/ANHs4bGOcA2OIcXHmt/M9hWvTXXVbz23fdxNqq/s9BRp76Jd+y+bNTNFPFFERAB+jc7EJAS4UO1yoKlwJPbRbUZUpzleftabeHHgaUoV6VKLVP2Nd7t/u4cdfeX7XaGG02V+IYXRzEGuRBEZCohCSo1I21uvibNWpF4ilK+jUv8AybT9Lj6bfMFr9XLkzc62H7l4nK/6g3VjY2dozjyf9k6HuPzXpdGV8snTfHbvPE6cwmeCrR3jv3fwUv8ATi20fJCf4gHt7Rk70I8Fd0rSvGNRcNDX6Ar2lKk+Oq+JY5U2DBLjA5smfY7eO/XxXC9IUMlTOtn6nu1Y2dyzyTt4zgfo6pbX/c3v18Vd0dXWtGXHb4olSl+lle8uTcrHHZjGzdmKjqIOvaFVX6PqRl9xXXmYlSa2Pl38nJXuG0GBm+tKnqAH4rFHo+pN/fVkYjSb3JOUd6A/Qx5RsyNN5G4dQ+aljsSn+FDZGak/0opXDd+2lAPwNzd2bh3/AJqjB4frqlnstyNOOZm45eXhs7Psx8Upw/dGbvwHeu06No56ubhH6RpdNYjq8PkW8tPdx+XvI+QN1bOIyuHOlpTqYNPE59lFPpKvnnkWy9SHQmE6ql1st5en8/I6peYe2EBVku6FzsZijL+kWtr4qxVqijlUnbvKZYelKWdxV+dlcsuaCKEAg6g6KCdtUWtJqzK9mu+GMkxxsYTqWtAPopzqznpKTfeVU8PSpu8IpdysT7MVxUGKlK0zod1eChd2sW5Ve9tRJGHCjgCDuIqPBE2ndCUVJWY2YrioMVKVpnTWleCXdrDKr5raiSMOFHAEZZEVGWY9UTad0JRUlZoGMVDqDEAQDTMA0qAeGQ8Eu7WMZVfNbUOjBIJAJboaZiuRpwyRNpWMuKbTfAyWDJjHGG/CAKkk0FMzmT21WW29zEYqOyPghbzuaOd8WQzypnxyyTM9NdjGSOum+/aZNaAAAKAZALDd9WZSSVkfI4w0UaABmaAU1zPqstt6sRioqyVis27YA7GIow/XFgbXxVjrVGsuZ27ypYaipZ1BX52Vy2qi4xMYqHUGIAgGmYBpUA9w8Fm7tYjlV81tT65oIoRUHUFYTtsZaTVmV7Nd8MZJjjYwnUtaAfEKydWpNWlJsqp4elTd4RS7lYsqsuK1psEUhBkjY8jQuaD81ZCrOGkZNdxTUw9Ko7zin3q5KYG0AwijSCBQUBbmCBuoo5ne9yxwi0lbRfDYykjDhRwBB1BFR4LCbTujMoqSs1cbMVxUGKlK0zprSvBLu1hlV721KzrrgJJMMZJzJLG/krFXqrRSfiUvC0W7uC8EZSWCJwaHRsIaKNBaCAOAG5YVWabak9SUqFKSScVZbabEsFnYwUY1rRwaAB6KMpyk7ydyUIRgrRSXcZkKJMrwXfCx2JkTGuO8NAPiFZKrUkrSk2imGHpQlmjFJ9iM7TZY5BSRjXjg4A/NYhUlB3i7dxKpShUVppPv1MoYWsGFjQ1o0AAA8AsSk5O7d2ShCMFlirLsMo4w0ANAAGgAoB2BYbbd2ZjFRVkrI+RRNaKNAaMzQCgzzJyRyctWYjGMVaKsI4mtrhAGI1NBSp4niUcm92IwjG9la592YrioMRFK0zoKkCvDM+KXdrcBlV81tT4+FpIcWgltcJIzFcjQ7skUmk0nuHCLabWq27A+NpIJAJaaio0OlRwNKom1sHFOza2MysEivJYInANdGwhvwgtBA7BuViqzTbTepVKhSkknFWW2mxH+qrP9TF5G/ks9fV/c/Eh9kofsj4ItSMBBBFQRQg7wdQq02ndF7Saszzi9Lufd9pZKwExYqtPUfijJ40rTj4r36NaOLouEva+tTkcRhpdHYmNWHs30+K8Du7bZ2WiGgNQ8BzHderSuaxOH6yLpy39GdXeNSCa2ZwTg6N9Phew+BC5hqVOXJo1dUzv7qtomia/fo4cCNR/+4rpcPWVampG5GWZXK/KO37KE0+J/Nb1cT4fgqsdX6qlpu9CNSWVHCLnTVO9uSwiCEVoHHnPPvwAXS4PD9VTUeL3NqCUI6nMQ2R142oyuBFmjOFv8wG4dpzPVQLopVFg6ORe2/L64HPwovpHE9bL/ABx0Xb9cfA7gCmQXjHSLQ+oDF5NMhU8NFh3toCLaSdAeb2UM0+XmYuxtJOgPN7Jmny8xdjaSdAeb2TNPl5i7G0k6A83smafLzF2NpJ0B5vZM0+XmLsbSToDzeyZp8vMXY2knQHm9kzT5eYuxtJOgPN7Jmny8xdjaSdAeb2TNPl5i7G0k6A83smafLzF2NpJ0B5vZM0+XmLsbSToDzeyZp8vMXY2knQHm9kzT5eYuxtJOgPN7Jmny8xdjaSdAeb2TNPl5i7G0k6A83smafLzF2NpJ0B5vZM0+XmLsbSToDzeyZp8vMXY2knQHm9kzT5eYuxtJOgPN7Jmny8xdjaSdAeb2TNPl5i7G0k6A83smafLzF2NpJ0B5vZM0+XmLsbSToDzeyZp8vMXY2knQHm9kzT5eYuxtJOgPN7Jmny8xdjaSdAeb2TNPl5i7G0k6A83smafLzF2NpJ0B5vZM0+XmLsbSToDzeyZp8vMXY2knQHm9kzT5eYuxtJOgPN7Jmny8xdjaSdAeb2TNPl5i7G0k6A83smafLzF2NpJ0B5vZM0+XmLsbSToDzeyZp8vMXY2knQHm9kzT5eYuxtJOgPN7Jmny8xdjaSdAeb2TNPl5i7G0f0B5vZM0+XmLsnVhkitVnZI0se0Oa7IgqUJyhLNF2ZCpTjUi4zV0ypc9gdA0x4sUYNY6/E0HVp40Oh6+pW16qqvPaz4/MowtB0I9Xe8eHNdnyNPyuu7SZo4B/wDifw8F4PSWH/8Aqvf8CdaPErckbZhlMZ0kGX2h7V8Aqeja2Wpkez9SNGVnY+8spqysbua2ve4mvyCz0pO9RR5L1/oVnrYp8m7LtJ210Zzz3aepCowNLrKyvw1+veRpq8jr7zsZmGzLsMZ+OnxOHQB3A7zwy3rqaNRU3mtrw7O0niKLrLI3aPHm+z5+BZghaxoa0BrWigA0CrlJyd3uXQhGEVGKskSKJIIAgI7RO1jS55AaNSetRnOMFmk7Iw2luIJmvaHNILToQkJxms0XdBO+xIpGSOedrG4nkNaN561Gc4wWaTsjDaW5V/XFn+tZ4qn7XQ/ejGePMuRvDgCCCDoRmPFXppq6JFM3vAMtqzLrVDxdFfqRHPHmTWa3RSZMe1x4AivgpwrU56RkmZUk9iwrTJRmveBpo6RterPxoteWKoxdnJEXOK4lqCdrxVjg4cQaq6E4zV4u5lNPYwtVsjjpjcG10qeCjUqwp+27ByS3JgVYZIJbbG1wY57Q51KAnM1NB6quVanGSi2rsw5JOxlabWyOmNwbXIVSdWFP2nYNpbkrnACpNANSpt21Zkoi+bPWm1bXty8dFQsXQbtmRDPHmXXPAGKuQFa7qcVe2krkyn+uLP8AWs8VR9rofvRHPHmSWe8InnCx7XHWgKlCvSm7RkmwpJ7FpXEirPeULHYXSNa4bieKpniKUHaUkmRcktz5FecLjRsjCToKhI4mlJ2UkFOL4liaVrQXOIAGpKslJRV5bGW7FT9cWf61niqftdD96MZ48yazW6OQkMe1xGtCp061Oo7QaZlST2PsVsjc4ta4FzdQDmKGh9VmNWEpOMXqgpJ6Ek0rWgucQANSVKUlFXlsG7GLbSwsxhwwUJxbqDUrCqRcc6egurXK364s/wBazxVX2uh+9GM8eZLZ7wikOFj2uNK0BU4V6c3aMk2FJPYys9rjeSGODi3UDd2+BWYVYTbUXexlST2PtqtTIxV7g0E0qVmpVhTV5uwbS3JQVMyQw2uNznNa4FzfiA3bs1XGrCTcYu7RhNMhde8AJBlbUZHPgq3iqKdnJGM8eZ9jvWBxAEjSSaAV1WY4mjJ2UlcZ48yS026KMgPe1pOYqVKpWp03abSMuSW5hFekDjQSMJ4VCjHE0pOykjCnF8S2ryQQBAEBHaIQ9rmnRwIPeozgpxcXxMNXVjzmF5jeDvY7+05rloydOafJ+hprRm25XD6YHc5jSPFy3Okl+MnzS+JZW9oscihz5D/K31J/JW9Fe1L3fEzR3Z1i9o2AgCAIAgOe5QOMssVnbvOJ/UP+1T4LzMa3VqRoLvf19cCmpq1Ecm5DHJJZ3fwkub2b/wAD3lMDJ05yoS4ar68xT0bidCvTLjU8qf3Z/a3+4LS6Q/wP3epXV9kiu65oHwxudGKuY0k1OpAqdVChhKM6MXKO6RiMIuK0K3JZ1JJo2msbTl4kA94+Sq6PeWpOEXeKMUt2iDk9YYpHTbRodR2Va7y5V4KjTqSnnV9fmRpxTvcx5QWSOF0boebJi0BPcabs8uuqjjaVOjKMqWkhUSi1Y2HKm2Oa1kbMnSmh7BQU7yR6ra6QqyjFU47yJ1ZNKyJ7HyfgY0BzA87yfw4KylgKMI2au+0yqcUjV2qH9DtDHRk7OQ0La9YqOulahadSH2SvGUPZf1/RW1kldbE3LFtdiOJcPHCrOk1fIu35Ga3AXTe2xY+KbJ0On8w3NHpTqI4JhsV1UZU6u8fP69DMJ5VZ8DUsEjp4ZZNZZGkdgc0Du4di0lnlVhUn+pr1RXrmTfE2/LP4YvtH5Le6U9mPeWVtkWOVwdsObpiGLsz16q0VnSWbqfu89frvM1b5SrZGWCRgbRrXU3mjq/a3qqmsHUio6J+D8TC6to277M2OzuY3RrHfI5lbrpxp0HCOyTJ2tGyOduNtk2X02HHU6k1plTReXhFhur/FtftKoZLam8uuGy4i6HDiAzIJyB7exejh44fNela/YWxUeBtFtkzmJ7OyS3ua8VbhGR6mheTOnGeNcZK6sUNJ1NSS/wC67OyFzmgNcKYaE556UOqzjMNQhSckrMzUhFIklkc676u1wDXeK5HwopuUpYK8uQd+r1Kd1tsWyZtMGOnOqTXUqnDrCdWs9rmI5Lam7uqGz5ugDeBIr20zW/h40NZUre4sio/pOWc2QTzyx6xPcT2Fzge0cV41qirTqQ/S36so1zNrgb+3W5s1je9vRoRwNRUFenVrRrYWUo8i2UlKFzGxfuB/pSf5LFP8l/xfxEf8ZrLlbY9kNtgx1Nak1pXJamFWF6tdZa5CGS2pvLrhsuIugDagUJBO/t7F6GHhh7uVK1+wtio/pNcwbG3U/hmHqf8A7A+Zaq/BxluEvr19SHs1O8i5T4pZWxMzwMc89tK/IAfeUMfmq1VTjwTf19cTFXV2RsLpvEfomM6xtIPa3TxFPFbOGxC+zZ3wXoSjL7lyPklZyIjIfikcTXqGXzxKPRtNqm5veX18xSWlzVXWLPtJ9vh+Pm4q8X1pTuWnh+o6yp11t9L97K45bvMbmxQ2IvGzwF4zFCa5b1v0oYRzWS1y1KF9Cpf0QdaoGuFQRQjvKpxkVLE04vYjUV5ovWnk7Z3NIDcJ3EE5dxyKvqdH0ZKyViTpRZq7ovh0QdFKamM0B14inYKeq1MNi3TTp1OBCE2tGdUvYLwgCAIDzS1Oq953Fzj4krk6jvKT7WaL3Oi5UWU7GF+9oDXd4H4j1XqdIU31UJ8tPEvqrRMg5GyUle3iyvgR+ar6Llao1zXp/ZGi9TsF7hshAEAQGE0ga0uOQaCT3KMpKKbfAN2OSu6C0yufaI3NaXkjncMshUHIZDuXi0IYirJ1oNK/P+ma8VJvMhb4bTDIy0SlriCAS3hnkaAbqiqVoV6M41qjT7v6QkpReZnXRvDgCMwRUd69uLTV0bBq+VP7s/tb/cFp9If4H7vUrq+ya6w8ng+JjjK8BzQcI0zFaBatHAKdOMnN6ohGldbm9u+wMhbhYO0nU9pXo0aEKMcsS2MVHY5e57pZO6XE5wwuywkbydagryMNhY15TzNqz4f0UQgpXuSXZZmQWrBK0En9m8+mWmenUQpYenGhiMlRdz+vq5mKUZWZsOVdlcWslZmYjU9hoa9xA8Vs9I0pNRqR/STqp7rgW7HfsD2gl7WHe1xoQequvcr6WNozjdyS7ySqRaNRbZv0u0RsjzjjNXO7xX5UC0qs/tdeMYeyt2Vt55JIscrfig+0f8VZ0j7VPv8AkZq8C7etyNmex5yoaP8A5m8O2uXYT1K/EYONacZePaiUqak7lG/2gWiygaBw/uYtfGq1eku34ojU9qI5Z/DF9o/JZ6U9mPeK3A2153gyFoLwSHGmQr21W7iMRCjFOXEslJR3NReEdhexzg5jXUJGE0Nfsey0a0cHODkmk+zfw/grkqbVyS5HONifiro8Nrwp8q1U8I5PCPN22EL5ChcTbJsvpsGOp+I50yotbCfZur/FtftIwyW1N7dr7KHEQlmJ2oaczRehQeHTtStd8i2OXgbJbZM5S3WJs1ucxxIBaDVtK5NHGq8atRVbFuD5cDXlHNUsQW+62WaVjnAyQnWuoO+tKV49eYVVbDRw9SMpK8DEoKL12N/fhBsry2lC0UppSopReni2nh5NbWLp+yam6m2PZM2mzx051TnqdVp4dYTq1ntcrjktqbq7H2fNsBbxIae6q3sPKhrGlb3FkcvA1fJ/95tP2j/e5aeC/MVe/wCLIU/aZRvuxus5fs/2MwoRuB1p+XeFRi6MsO3k9mXl9cPAhOLjtsza2L9wP9KT/JblP8l/xfxLI/4zXXI2ybIbbBjqa4jnSuS1cJ9m6tdZa/aQhktqbu7H2YEthLKnMhp1p/3XoUJYdO1Jq/YWxy8CpysgOBkrfiicD3Gn44VR0jB5FUW8X9ediNVaXMOTLTI+W0OGbzhHUNT/AIjuUcAnUlOs+P18vAxT1bkaa2tfG+WzNGUj2lvfmB6t8q0aqlTlKhH9TVvr62K5XTcTtbNCGMawaNAA7l70IKEVFcDZSsrHJXULPtJ9vh+Pm4u19aei8XD9R1lTrbb6X72a8Mt3mNzY32JrwYzGHnIUOeeVFv0pYSMlkauWrInoU79kDbXA5xoBmSd2ZVOLko4mm3sRm7TRsLTf8DGkh4cdwbmT+S2KmOoxV81+4m6kUai6LpdKHSyCmN1QPEk9mfotLDYV1U6k+JVCF9WdWvZNgIAgK15WjZxPf0WmnboPWiqr1OrpylyIydlc4S6bJtZWM3VqewZn8u9c5hqXWVFE1YRu7HeW+yiWNzD/ABDwO4+NF0damqkHB8TbkrqxxdwPMdpYHZGpYR1mop40Xg4NuniEn3fXvNWnpI7xdGbYQBAEBHPC17S1wq06hRnBTWWWxhq+jEELWNDWijRoAkIRgssVZBK2iPloga9pa8VadQerNYnCM45ZK6DSejMoIWsaGtFGjQLMYqKyx2CVjG02dsjS14q07uzNYnCM45ZK6DSejMoow1oa0UDRQDgBopRiopJbIylYzWQQWWxxx1wNDcWZ61XClCnfKrXMKKWx8tdhjlpjaHU06vBYqUYVPbVw4p7k4CtMlCa5LO41MYr1VHoFrSwdCTu4kHTi+Bbs1mZGKMaGjqHz4q6FOMFaKsSSS2MbVY45MONodhzHUsTpQqWzK9g4p7k6sMkE9jje5rnNBcw1aeGYPzAVc6UJtSktVsYcU9T5a7HHJQPaHUzFfZKlKFT21cOKe5NJGHCjgCDqDmFOUVJWZncofqKz1rsx608NFrfYqF75SHVx5F4xNw4aDDSlN1NKLYyq2XgStwKP6js/1Q9fzWv9joftRHq48iWzXXDG7ExgDuOe9ThhqUHmjGzMqEVsXFeSIBY49ptMIx0pi9FX1UM+e2pjKr3MrRZ2vaWvAc07iszhGayyV0Gk9zAWKPZ7PDzOjn2rHUwyZLaDKrWK36js/wBWPX81V9joftRHq48ieyXdFGSWMDSRQ0r+KnToU6bvBWMqKWxlBY42Oc5rQHPzceOdfmpQowhJyitXuZUUtSSeFr2lrgC06gqU4RmssldBq+5iyysDNmG8yhFOo6hYVOKhkS0FlaxU/Udn+rHr+ao+x0P2oj1ceRNZbshjdiYwNNKVz3qynh6VN5oxszKglsWJomvaWuFWkUIVkoqScZbMy1cxs1nbG0NYKNG7tWKdONOOWKsgklojCSwxueJC0F7dD4/mVF0YOam1qhlV7lhWmTXvuWzkkmMVJqdd61ng6Ld3FEOrjyPsdzQNIcIwCCCDnqMwsrCUYu6iFCK4Etru6KQgvYHECgrX8FKpQp1HeauZcU9yOK6IGmojbXrz+ajHC0Yu6igoRXAvLYJBAEAQHN8srZRrYhq7nO7Bp6/JeV0nVtFU+epTWlpYtcmbr2TMbhz37uA3Dt3n2V2Aw3VQzS3fkZpQsrs3S3y05PlTYzHI2dm8ivU4Zg99PTrXi9IUXCarR+mjXqxs8yOphkDmhw0cAR35r2IyUoqS4l6dzNSMhAEAQBAEAQBAEAQBAEAQBAEAQBAEAQBAEAQBAEAQBAEAQBAEAQBAEAQBAEAQBAEAQBAEAQBAEAQGMkgaC4mgAJJ4AarEpKKbeyBoruu4yym0TClTWNh3AfCXD8OOa86hh3VqdfUXcvS5VGN3mZv16RaEBDa7O2RjmO0cKfkR171CpTjUi4y2Zhq6sVLja5sezf8AFES3tGrSOqh9FRhFKMOrlvHT5eRGGiszYraJhAEAQBAEAQBAEAQBAEAQBAEAQBAEAQBAEAQBAEAQBAEAQBAEAQBAEAQBAEAQBAEAQBAEAQBAEAQENqHN7x81CpsYZMpmQgCAICMDnHsHzKj+owSKRkIAgCAIAgCAIAgCAIAgCAIAgCAIAgCAIAgCAIAgCAIAgCAIAgCAIAgCAIAgCAIAgCAIAgCAID//2Q=="/>
          <p:cNvSpPr>
            <a:spLocks noChangeAspect="1" noChangeArrowheads="1"/>
          </p:cNvSpPr>
          <p:nvPr/>
        </p:nvSpPr>
        <p:spPr bwMode="auto">
          <a:xfrm>
            <a:off x="1838501" y="8113"/>
            <a:ext cx="310991" cy="3109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2897" tIns="46453" rIns="92897" bIns="4645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Arial" charset="0"/>
              <a:buChar char="▪"/>
              <a:tabLst/>
              <a:defRPr/>
            </a:pPr>
            <a:endParaRPr kumimoji="0" lang="en-US" sz="1122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2" name="Rectangle 286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28870" y="1902837"/>
            <a:ext cx="3660071" cy="36009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93675" marR="0" lvl="1" indent="-192088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Wingdings" pitchFamily="2" charset="2"/>
              <a:buChar char="§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93675" marR="0" lvl="1" indent="-192088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Wingdings" pitchFamily="2" charset="2"/>
              <a:buChar char="§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ack performance for  KNAP 2018-22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– measure progress of Key result Areas /targets </a:t>
            </a:r>
          </a:p>
          <a:p>
            <a:pPr marL="193675" marR="0" lvl="1" indent="-192088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Wingdings" pitchFamily="2" charset="2"/>
              <a:buChar char="§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ccountability, Transparenc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:  leaders and service providers to improve  </a:t>
            </a:r>
            <a:r>
              <a:rPr lang="en-US" sz="1800" dirty="0">
                <a:solidFill>
                  <a:srgbClr val="000000"/>
                </a:solidFill>
                <a:latin typeface="Calibri"/>
              </a:rPr>
              <a:t>n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tritio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outcomes in line with the constitution, VISION 2030, and Regional and Global commitments </a:t>
            </a:r>
          </a:p>
          <a:p>
            <a:pPr marL="193675" marR="0" lvl="1" indent="-192088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Wingdings" pitchFamily="2" charset="2"/>
              <a:buChar char="§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dvocacy and to highlight areas of need/success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 national and county initiatives </a:t>
            </a:r>
          </a:p>
        </p:txBody>
      </p:sp>
      <p:sp>
        <p:nvSpPr>
          <p:cNvPr id="59" name="AutoShape 8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 flipH="1" flipV="1">
            <a:off x="7826731" y="5588606"/>
            <a:ext cx="2666608" cy="713293"/>
          </a:xfrm>
          <a:prstGeom prst="rightArrow">
            <a:avLst>
              <a:gd name="adj1" fmla="val 70310"/>
              <a:gd name="adj2" fmla="val 42779"/>
            </a:avLst>
          </a:prstGeom>
          <a:gradFill>
            <a:gsLst>
              <a:gs pos="0">
                <a:srgbClr val="0E5976">
                  <a:lumMod val="86000"/>
                  <a:lumOff val="14000"/>
                </a:srgbClr>
              </a:gs>
              <a:gs pos="100000">
                <a:srgbClr val="0E5976">
                  <a:lumMod val="61000"/>
                  <a:lumOff val="39000"/>
                </a:srgbClr>
              </a:gs>
            </a:gsLst>
            <a:lin ang="135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77748" tIns="77748" rIns="77748" bIns="77748" numCol="1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0917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  <a:buFontTx/>
              <a:buNone/>
              <a:tabLst/>
              <a:defRPr/>
            </a:pPr>
            <a:endParaRPr kumimoji="0" lang="en-US" sz="1224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8323908" y="5632119"/>
            <a:ext cx="13655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0917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unty level</a:t>
            </a:r>
          </a:p>
        </p:txBody>
      </p:sp>
      <p:sp>
        <p:nvSpPr>
          <p:cNvPr id="61" name="Rectangle 286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947517" y="1165385"/>
            <a:ext cx="3515614" cy="4401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93675" marR="0" lvl="1" indent="-192088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Wingdings" pitchFamily="2" charset="2"/>
              <a:buChar char="§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93675" marR="0" lvl="1" indent="-192088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Wingdings" pitchFamily="2" charset="2"/>
              <a:buChar char="§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dentify challenges , best practices and cross learning;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identify areas doing well and those with bottlenecks</a:t>
            </a:r>
          </a:p>
          <a:p>
            <a:pPr marL="1587" marR="0" lvl="1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Arial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93675" marR="0" lvl="1" indent="-192088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Wingdings" pitchFamily="2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igger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vidence based action and prioritization b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onitor program performance for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unty and national strategies </a:t>
            </a:r>
          </a:p>
          <a:p>
            <a:pPr marL="193675" marR="0" lvl="1" indent="-192088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Wingdings" pitchFamily="2" charset="2"/>
              <a:buChar char="§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93675" marR="0" lvl="1" indent="-192088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Wingdings" pitchFamily="2" charset="2"/>
              <a:buChar char="§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93675" marR="0" lvl="1" indent="-192088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Wingdings" pitchFamily="2" charset="2"/>
              <a:buChar char="§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utual accountability and dialogue with community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 communities hold leaders accountab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F7CCB33-1B97-4226-BE08-069EC89FF9A2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463594" y="1481278"/>
            <a:ext cx="3363136" cy="4705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5332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24271" y="1"/>
          <a:ext cx="161976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271" y="1"/>
                        <a:ext cx="161976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555" name="Rectangle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1524270" y="262570"/>
            <a:ext cx="9175775" cy="8863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3200" b="1" dirty="0">
                <a:solidFill>
                  <a:srgbClr val="0070C0"/>
                </a:solidFill>
                <a:latin typeface="Calibri" panose="020F0502020204030204"/>
              </a:rPr>
              <a:t>The Kenya Nutrition  Scorecard  Milestones</a:t>
            </a:r>
            <a:r>
              <a:rPr lang="en-US" sz="3200" b="1" dirty="0"/>
              <a:t/>
            </a:r>
            <a:br>
              <a:rPr lang="en-US" sz="3200" b="1" dirty="0"/>
            </a:br>
            <a:endParaRPr lang="en-US" sz="3200" b="1" dirty="0"/>
          </a:p>
        </p:txBody>
      </p:sp>
      <p:sp>
        <p:nvSpPr>
          <p:cNvPr id="40" name="TextBox 39"/>
          <p:cNvSpPr txBox="1">
            <a:spLocks/>
          </p:cNvSpPr>
          <p:nvPr/>
        </p:nvSpPr>
        <p:spPr>
          <a:xfrm>
            <a:off x="6957171" y="1309920"/>
            <a:ext cx="4405859" cy="4984636"/>
          </a:xfrm>
          <a:prstGeom prst="rect">
            <a:avLst/>
          </a:prstGeom>
        </p:spPr>
        <p:txBody>
          <a:bodyPr vert="horz" lIns="93297" tIns="46649" rIns="93297" bIns="46649" rtlCol="0">
            <a:noAutofit/>
          </a:bodyPr>
          <a:lstStyle>
            <a:lvl1pPr marL="0" lvl="0" indent="0" defTabSz="895350">
              <a:buFontTx/>
              <a:buNone/>
              <a:defRPr sz="1600">
                <a:latin typeface="+mn-lt"/>
              </a:defRPr>
            </a:lvl1pPr>
            <a:lvl2pPr marL="193675" lvl="1" indent="-192088" defTabSz="895350">
              <a:defRPr sz="1600">
                <a:latin typeface="+mn-lt"/>
              </a:defRPr>
            </a:lvl2pPr>
            <a:lvl3pPr marL="457200" lvl="2" indent="-261938" defTabSz="895350">
              <a:buSzPct val="120000"/>
              <a:buChar char="–"/>
              <a:defRPr sz="1600">
                <a:latin typeface="+mn-lt"/>
              </a:defRPr>
            </a:lvl3pPr>
            <a:lvl4pPr marL="614363" lvl="3" indent="-155575" defTabSz="895350">
              <a:buSzPct val="120000"/>
              <a:buChar char="▫"/>
              <a:defRPr sz="1600">
                <a:latin typeface="+mn-lt"/>
              </a:defRPr>
            </a:lvl4pPr>
            <a:lvl5pPr marL="746125" lvl="4" indent="-130175" defTabSz="895350">
              <a:buSzPct val="8900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 marL="193675" marR="0" lvl="1" indent="-192088" algn="l" defTabSz="8953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ilot Training</a:t>
            </a:r>
          </a:p>
          <a:p>
            <a:pPr marL="457200" marR="0" lvl="2" indent="-261938" algn="l" defTabSz="8953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 2019 training-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9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counties and Partners</a:t>
            </a:r>
          </a:p>
          <a:p>
            <a:pPr marL="195262" marR="0" lvl="2" indent="0" algn="l" defTabSz="8953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2960"/>
              </a:buClr>
              <a:buSzPct val="125000"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93675" marR="0" lvl="1" indent="-261938" algn="l" defTabSz="8953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views, sensitization, utilization and documentation </a:t>
            </a:r>
          </a:p>
          <a:p>
            <a:pPr marL="0" marR="0" lvl="1" indent="-68263" algn="l" defTabSz="8953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2960"/>
              </a:buClr>
              <a:buSzPct val="125000"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93675" marR="0" lvl="1" indent="-261938" algn="l" defTabSz="8953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aunch  23</a:t>
            </a:r>
            <a:r>
              <a:rPr kumimoji="0" lang="en-US" sz="2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d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September 2020</a:t>
            </a:r>
          </a:p>
          <a:p>
            <a:pPr marL="0" marR="0" lvl="1" indent="0" algn="l" defTabSz="8953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2960"/>
              </a:buClr>
              <a:buSzPct val="125000"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93675" marR="0" lvl="1" indent="-261938" algn="l" defTabSz="8953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cond country in Africa to develop a nutrition scorecard</a:t>
            </a:r>
          </a:p>
          <a:p>
            <a:pPr marL="0" marR="0" lvl="0" indent="-192088" algn="l" defTabSz="895350" rtl="0" eaLnBrk="0" fontAlgn="base" latinLnBrk="0" hangingPunct="0">
              <a:lnSpc>
                <a:spcPct val="100000"/>
              </a:lnSpc>
              <a:spcBef>
                <a:spcPts val="1224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Arial" charset="0"/>
              <a:buChar char="▪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93675" marR="0" lvl="1" indent="-192088" algn="l" defTabSz="895350" rtl="0" eaLnBrk="0" fontAlgn="base" latinLnBrk="0" hangingPunct="0">
              <a:lnSpc>
                <a:spcPct val="100000"/>
              </a:lnSpc>
              <a:spcBef>
                <a:spcPts val="1224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Arial" charset="0"/>
              <a:buChar char="▪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587" marR="0" lvl="1" indent="0" algn="l" defTabSz="895350" rtl="0" eaLnBrk="0" fontAlgn="base" latinLnBrk="0" hangingPunct="0">
              <a:lnSpc>
                <a:spcPct val="100000"/>
              </a:lnSpc>
              <a:spcBef>
                <a:spcPts val="1224"/>
              </a:spcBef>
              <a:spcAft>
                <a:spcPct val="0"/>
              </a:spcAft>
              <a:buClr>
                <a:srgbClr val="002960"/>
              </a:buClr>
              <a:buSzPct val="125000"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2" name="Rectangle 41"/>
          <p:cNvSpPr>
            <a:spLocks/>
          </p:cNvSpPr>
          <p:nvPr/>
        </p:nvSpPr>
        <p:spPr>
          <a:xfrm>
            <a:off x="1524270" y="1027630"/>
            <a:ext cx="9175776" cy="141647"/>
          </a:xfrm>
          <a:prstGeom prst="rect">
            <a:avLst/>
          </a:prstGeom>
          <a:gradFill>
            <a:gsLst>
              <a:gs pos="100000">
                <a:srgbClr val="F1EEEB">
                  <a:alpha val="0"/>
                </a:srgbClr>
              </a:gs>
              <a:gs pos="0">
                <a:srgbClr val="ECEBE9">
                  <a:alpha val="74000"/>
                  <a:lumMod val="76000"/>
                </a:srgbClr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Arial" charset="0"/>
              <a:buChar char="▪"/>
              <a:tabLst/>
              <a:defRPr/>
            </a:pPr>
            <a:endParaRPr kumimoji="0" lang="en-US" sz="1428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oup 42"/>
          <p:cNvGrpSpPr/>
          <p:nvPr/>
        </p:nvGrpSpPr>
        <p:grpSpPr>
          <a:xfrm>
            <a:off x="6214098" y="889151"/>
            <a:ext cx="345794" cy="5531356"/>
            <a:chOff x="4566047" y="1436986"/>
            <a:chExt cx="338910" cy="4856903"/>
          </a:xfrm>
        </p:grpSpPr>
        <p:cxnSp>
          <p:nvCxnSpPr>
            <p:cNvPr id="44" name="Straight Connector 43"/>
            <p:cNvCxnSpPr>
              <a:cxnSpLocks/>
            </p:cNvCxnSpPr>
            <p:nvPr/>
          </p:nvCxnSpPr>
          <p:spPr>
            <a:xfrm>
              <a:off x="4735502" y="1695857"/>
              <a:ext cx="20645" cy="4598032"/>
            </a:xfrm>
            <a:prstGeom prst="line">
              <a:avLst/>
            </a:prstGeom>
            <a:ln w="9525">
              <a:solidFill>
                <a:schemeClr val="accent6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Oval 44"/>
            <p:cNvSpPr/>
            <p:nvPr/>
          </p:nvSpPr>
          <p:spPr bwMode="gray">
            <a:xfrm>
              <a:off x="4566047" y="1436986"/>
              <a:ext cx="338910" cy="338909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25000"/>
                <a:buFont typeface="Arial" charset="0"/>
                <a:buChar char="▪"/>
                <a:tabLst/>
                <a:defRPr/>
              </a:pPr>
              <a:endParaRPr kumimoji="0" lang="en-US" sz="102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46" name="Group 45"/>
            <p:cNvGrpSpPr/>
            <p:nvPr>
              <p:custDataLst>
                <p:tags r:id="rId5"/>
              </p:custDataLst>
            </p:nvPr>
          </p:nvGrpSpPr>
          <p:grpSpPr bwMode="gray">
            <a:xfrm>
              <a:off x="4612444" y="1503647"/>
              <a:ext cx="246116" cy="205582"/>
              <a:chOff x="5519452" y="3842652"/>
              <a:chExt cx="378904" cy="495782"/>
            </a:xfrm>
          </p:grpSpPr>
          <p:sp>
            <p:nvSpPr>
              <p:cNvPr id="47" name="Chevron 46"/>
              <p:cNvSpPr/>
              <p:nvPr/>
            </p:nvSpPr>
            <p:spPr bwMode="gray">
              <a:xfrm>
                <a:off x="5519452" y="3892550"/>
                <a:ext cx="192024" cy="395986"/>
              </a:xfrm>
              <a:prstGeom prst="chevron">
                <a:avLst>
                  <a:gd name="adj" fmla="val 37528"/>
                </a:avLst>
              </a:prstGeom>
              <a:gradFill>
                <a:gsLst>
                  <a:gs pos="0">
                    <a:schemeClr val="accent1"/>
                  </a:gs>
                  <a:gs pos="100000">
                    <a:schemeClr val="accent1">
                      <a:lumMod val="75000"/>
                    </a:schemeClr>
                  </a:gs>
                </a:gsLst>
                <a:lin ang="5400000" scaled="0"/>
              </a:gra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 typeface="Arial" charset="0"/>
                  <a:buChar char="▪"/>
                  <a:tabLst/>
                  <a:defRPr/>
                </a:pPr>
                <a:endParaRPr kumimoji="0" lang="en-US" sz="102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8" name="Chevron 47"/>
              <p:cNvSpPr/>
              <p:nvPr/>
            </p:nvSpPr>
            <p:spPr bwMode="gray">
              <a:xfrm>
                <a:off x="5657938" y="3842652"/>
                <a:ext cx="240418" cy="495782"/>
              </a:xfrm>
              <a:prstGeom prst="chevron">
                <a:avLst>
                  <a:gd name="adj" fmla="val 37528"/>
                </a:avLst>
              </a:prstGeom>
              <a:gradFill flip="none" rotWithShape="1">
                <a:gsLst>
                  <a:gs pos="0">
                    <a:schemeClr val="accent2"/>
                  </a:gs>
                  <a:gs pos="100000">
                    <a:schemeClr val="accent2">
                      <a:lumMod val="75000"/>
                    </a:schemeClr>
                  </a:gs>
                </a:gsLst>
                <a:lin ang="5400000" scaled="1"/>
                <a:tileRect/>
              </a:gradFill>
              <a:ln w="19050">
                <a:noFill/>
              </a:ln>
              <a:effectLst/>
            </p:spPr>
            <p:txBody>
              <a:bodyPr wrap="square" lIns="74638" tIns="74638" rIns="74638" bIns="74638" anchor="ctr" anchorCtr="1">
                <a:noAutofit/>
              </a:bodyPr>
              <a:lstStyle/>
              <a:p>
                <a:pPr marL="0" marR="0" lvl="0" indent="0" algn="l" defTabSz="91352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 typeface="Arial" charset="0"/>
                  <a:buChar char="▪"/>
                  <a:tabLst/>
                  <a:defRPr/>
                </a:pPr>
                <a:endParaRPr kumimoji="0" lang="en-US" sz="10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Arial" charset="0"/>
                </a:endParaRPr>
              </a:p>
            </p:txBody>
          </p:sp>
        </p:grpSp>
      </p:grpSp>
      <p:sp>
        <p:nvSpPr>
          <p:cNvPr id="49" name="TextBox 48"/>
          <p:cNvSpPr txBox="1">
            <a:spLocks/>
          </p:cNvSpPr>
          <p:nvPr/>
        </p:nvSpPr>
        <p:spPr>
          <a:xfrm>
            <a:off x="1206706" y="1226175"/>
            <a:ext cx="5086918" cy="5057059"/>
          </a:xfrm>
          <a:prstGeom prst="rect">
            <a:avLst/>
          </a:prstGeom>
        </p:spPr>
        <p:txBody>
          <a:bodyPr vert="horz" lIns="93297" tIns="46649" rIns="93297" bIns="46649" rtlCol="0">
            <a:noAutofit/>
          </a:bodyPr>
          <a:lstStyle>
            <a:lvl1pPr marL="0" lvl="0" indent="0" defTabSz="895350">
              <a:buFontTx/>
              <a:buNone/>
              <a:defRPr sz="1600">
                <a:latin typeface="+mn-lt"/>
              </a:defRPr>
            </a:lvl1pPr>
            <a:lvl2pPr marL="193675" lvl="1" indent="-192088" defTabSz="895350">
              <a:defRPr sz="1600">
                <a:latin typeface="+mn-lt"/>
              </a:defRPr>
            </a:lvl2pPr>
            <a:lvl3pPr marL="457200" lvl="2" indent="-261938" defTabSz="895350">
              <a:buSzPct val="120000"/>
              <a:buChar char="–"/>
              <a:defRPr sz="1600">
                <a:latin typeface="+mn-lt"/>
              </a:defRPr>
            </a:lvl3pPr>
            <a:lvl4pPr marL="614363" lvl="3" indent="-155575" defTabSz="895350">
              <a:buSzPct val="120000"/>
              <a:buChar char="▫"/>
              <a:defRPr sz="1600">
                <a:latin typeface="+mn-lt"/>
              </a:defRPr>
            </a:lvl4pPr>
            <a:lvl5pPr marL="746125" lvl="4" indent="-130175" defTabSz="895350">
              <a:buSzPct val="8900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 marL="193675" marR="0" lvl="1" indent="-192088" algn="l" defTabSz="895350" rtl="0" eaLnBrk="0" fontAlgn="base" latinLnBrk="0" hangingPunct="0">
              <a:lnSpc>
                <a:spcPct val="100000"/>
              </a:lnSpc>
              <a:spcBef>
                <a:spcPts val="1224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 May 2019,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 Division of Nutrition worked with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oH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IS , NITWG and  partners (ALMA, UNICEF)</a:t>
            </a:r>
          </a:p>
          <a:p>
            <a:pPr marL="193675" marR="0" lvl="1" indent="-192088" algn="l" defTabSz="895350" rtl="0" eaLnBrk="0" fontAlgn="base" latinLnBrk="0" hangingPunct="0">
              <a:lnSpc>
                <a:spcPct val="100000"/>
              </a:lnSpc>
              <a:spcBef>
                <a:spcPts val="1224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velopment  Process–Participatory Representation</a:t>
            </a:r>
          </a:p>
          <a:p>
            <a:pPr marL="614363" marR="0" lvl="3" indent="-155575" algn="l" defTabSz="895350" rtl="0" eaLnBrk="0" fontAlgn="base" latinLnBrk="0" hangingPunct="0">
              <a:lnSpc>
                <a:spcPct val="100000"/>
              </a:lnSpc>
              <a:spcBef>
                <a:spcPts val="1224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artners, National Programs, Counties</a:t>
            </a:r>
          </a:p>
          <a:p>
            <a:pPr marL="193675" marR="0" lvl="1" indent="-192088" algn="l" defTabSz="89535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 final result: Nutrition Scorecard –RMNCH platform spanning the KNAP Approach</a:t>
            </a:r>
          </a:p>
          <a:p>
            <a:pPr marL="1284287" lvl="5" indent="-342900" eaLnBrk="0" hangingPunct="0">
              <a:buClr>
                <a:srgbClr val="002960"/>
              </a:buClr>
              <a:buSzPct val="125000"/>
              <a:buFont typeface="Arial" panose="020B0604020202020204" pitchFamily="34" charset="0"/>
              <a:buChar char="•"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6 categories </a:t>
            </a:r>
          </a:p>
          <a:p>
            <a:pPr marL="1284287" lvl="5" indent="-342900" eaLnBrk="0" hangingPunct="0">
              <a:buClr>
                <a:srgbClr val="002960"/>
              </a:buClr>
              <a:buSzPct val="125000"/>
              <a:buFont typeface="Arial" panose="020B0604020202020204" pitchFamily="34" charset="0"/>
              <a:buChar char="•"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6 indicators: National (12) and County-level (14)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021F21F-01A0-4A39-B394-8BAE4A9CF6F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63229" y="5420139"/>
            <a:ext cx="1563200" cy="119849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66059720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137640" y="66550"/>
            <a:ext cx="11680740" cy="43221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rgbClr val="0099FF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</a:rPr>
              <a:t>Development of Kenya Nutrition Accountability Scorecard</a:t>
            </a:r>
            <a:endParaRPr kumimoji="0" lang="fr-CH" sz="2400" b="1" i="1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 panose="020F0502020204030204"/>
              <a:ea typeface="Arial" charset="0"/>
              <a:cs typeface="Cambria"/>
            </a:endParaRP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96638ADD-BD6F-4173-A2AE-59D81DF92C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7912" y="622655"/>
            <a:ext cx="9083429" cy="398997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2000" b="1" dirty="0">
                <a:cs typeface="Arial" panose="020B0604020202020204" pitchFamily="34" charset="0"/>
              </a:rPr>
              <a:t>Process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506F06C4-FBC5-4B5D-BEC0-622F828EAECC}"/>
              </a:ext>
            </a:extLst>
          </p:cNvPr>
          <p:cNvGrpSpPr/>
          <p:nvPr/>
        </p:nvGrpSpPr>
        <p:grpSpPr>
          <a:xfrm>
            <a:off x="137640" y="997381"/>
            <a:ext cx="11756176" cy="5237964"/>
            <a:chOff x="-100740" y="1371006"/>
            <a:chExt cx="11923270" cy="4495534"/>
          </a:xfrm>
        </p:grpSpPr>
        <p:sp>
          <p:nvSpPr>
            <p:cNvPr id="38" name="TextBox 32">
              <a:extLst>
                <a:ext uri="{FF2B5EF4-FFF2-40B4-BE49-F238E27FC236}">
                  <a16:creationId xmlns:a16="http://schemas.microsoft.com/office/drawing/2014/main" id="{D57C606E-3F6E-4715-AE3B-9CBC52330DDE}"/>
                </a:ext>
              </a:extLst>
            </p:cNvPr>
            <p:cNvSpPr txBox="1"/>
            <p:nvPr>
              <p:custDataLst>
                <p:tags r:id="rId1"/>
              </p:custDataLst>
            </p:nvPr>
          </p:nvSpPr>
          <p:spPr>
            <a:xfrm>
              <a:off x="-100740" y="1371006"/>
              <a:ext cx="11923270" cy="449553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19050" algn="ctr">
              <a:solidFill>
                <a:srgbClr val="38529C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62271" tIns="62271" rIns="62271" bIns="0"/>
            <a:lstStyle>
              <a:defPPr>
                <a:defRPr lang="en-US"/>
              </a:defPPr>
              <a:lvl1pPr marL="342900" indent="-342900" defTabSz="895350">
                <a:buSzTx/>
                <a:buFontTx/>
                <a:buNone/>
                <a:defRPr sz="1600" b="0">
                  <a:latin typeface="+mn-lt"/>
                </a:defRPr>
              </a:lvl1pPr>
            </a:lstStyle>
            <a:p>
              <a:pPr marL="349861" marR="0" lvl="0" indent="-349861" algn="l" defTabSz="91352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F7723AE1-B7F5-4304-AEAD-D9BC605CEDE1}"/>
                </a:ext>
              </a:extLst>
            </p:cNvPr>
            <p:cNvGrpSpPr/>
            <p:nvPr/>
          </p:nvGrpSpPr>
          <p:grpSpPr>
            <a:xfrm>
              <a:off x="164015" y="1755113"/>
              <a:ext cx="3182230" cy="3814460"/>
              <a:chOff x="164015" y="1755113"/>
              <a:chExt cx="3182230" cy="3814460"/>
            </a:xfrm>
          </p:grpSpPr>
          <p:sp>
            <p:nvSpPr>
              <p:cNvPr id="55" name="Freeform 11">
                <a:extLst>
                  <a:ext uri="{FF2B5EF4-FFF2-40B4-BE49-F238E27FC236}">
                    <a16:creationId xmlns:a16="http://schemas.microsoft.com/office/drawing/2014/main" id="{C71FDCA3-B077-4288-8C0B-FF06AA147E23}"/>
                  </a:ext>
                </a:extLst>
              </p:cNvPr>
              <p:cNvSpPr/>
              <p:nvPr>
                <p:custDataLst>
                  <p:tags r:id="rId8"/>
                </p:custDataLst>
              </p:nvPr>
            </p:nvSpPr>
            <p:spPr bwMode="auto">
              <a:xfrm>
                <a:off x="164015" y="1755113"/>
                <a:ext cx="3182230" cy="700916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1 h 914400"/>
                  <a:gd name="connsiteX0" fmla="*/ 0 w 1828800"/>
                  <a:gd name="connsiteY0" fmla="*/ 0 h 914400"/>
                  <a:gd name="connsiteX1" fmla="*/ 1749399 w 1828800"/>
                  <a:gd name="connsiteY1" fmla="*/ 1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1 h 914400"/>
                  <a:gd name="connsiteX0" fmla="*/ 0 w 1828800"/>
                  <a:gd name="connsiteY0" fmla="*/ 0 h 914402"/>
                  <a:gd name="connsiteX1" fmla="*/ 1749399 w 1828800"/>
                  <a:gd name="connsiteY1" fmla="*/ 1 h 914402"/>
                  <a:gd name="connsiteX2" fmla="*/ 1828800 w 1828800"/>
                  <a:gd name="connsiteY2" fmla="*/ 457200 h 914402"/>
                  <a:gd name="connsiteX3" fmla="*/ 1749399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1 h 914402"/>
                  <a:gd name="connsiteX0" fmla="*/ 0 w 1828800"/>
                  <a:gd name="connsiteY0" fmla="*/ 0 h 914402"/>
                  <a:gd name="connsiteX1" fmla="*/ 1749399 w 1828800"/>
                  <a:gd name="connsiteY1" fmla="*/ 1 h 914402"/>
                  <a:gd name="connsiteX2" fmla="*/ 1828800 w 1828800"/>
                  <a:gd name="connsiteY2" fmla="*/ 457200 h 914402"/>
                  <a:gd name="connsiteX3" fmla="*/ 1749399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710268 w 1828800"/>
                  <a:gd name="connsiteY1" fmla="*/ 0 h 914402"/>
                  <a:gd name="connsiteX2" fmla="*/ 1828800 w 1828800"/>
                  <a:gd name="connsiteY2" fmla="*/ 457200 h 914402"/>
                  <a:gd name="connsiteX3" fmla="*/ 1749399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710268 w 1828800"/>
                  <a:gd name="connsiteY1" fmla="*/ 0 h 914402"/>
                  <a:gd name="connsiteX2" fmla="*/ 1828800 w 1828800"/>
                  <a:gd name="connsiteY2" fmla="*/ 457200 h 914402"/>
                  <a:gd name="connsiteX3" fmla="*/ 1710268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710268 w 1828800"/>
                  <a:gd name="connsiteY1" fmla="*/ 0 h 914402"/>
                  <a:gd name="connsiteX2" fmla="*/ 1828800 w 1828800"/>
                  <a:gd name="connsiteY2" fmla="*/ 457200 h 914402"/>
                  <a:gd name="connsiteX3" fmla="*/ 1710268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4266 w 1828800"/>
                  <a:gd name="connsiteY1" fmla="*/ 0 h 914402"/>
                  <a:gd name="connsiteX2" fmla="*/ 1828800 w 1828800"/>
                  <a:gd name="connsiteY2" fmla="*/ 457200 h 914402"/>
                  <a:gd name="connsiteX3" fmla="*/ 1710268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4266 w 1828800"/>
                  <a:gd name="connsiteY1" fmla="*/ 0 h 914402"/>
                  <a:gd name="connsiteX2" fmla="*/ 1828800 w 1828800"/>
                  <a:gd name="connsiteY2" fmla="*/ 457200 h 914402"/>
                  <a:gd name="connsiteX3" fmla="*/ 1674266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4266 w 1828800"/>
                  <a:gd name="connsiteY1" fmla="*/ 0 h 914402"/>
                  <a:gd name="connsiteX2" fmla="*/ 1828800 w 1828800"/>
                  <a:gd name="connsiteY2" fmla="*/ 457200 h 914402"/>
                  <a:gd name="connsiteX3" fmla="*/ 1674266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4266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43664"/>
                  <a:gd name="connsiteY0" fmla="*/ 0 h 914402"/>
                  <a:gd name="connsiteX1" fmla="*/ 1843664 w 1843664"/>
                  <a:gd name="connsiteY1" fmla="*/ 0 h 914402"/>
                  <a:gd name="connsiteX2" fmla="*/ 1828800 w 1843664"/>
                  <a:gd name="connsiteY2" fmla="*/ 457200 h 914402"/>
                  <a:gd name="connsiteX3" fmla="*/ 1676501 w 1843664"/>
                  <a:gd name="connsiteY3" fmla="*/ 914402 h 914402"/>
                  <a:gd name="connsiteX4" fmla="*/ 0 w 1843664"/>
                  <a:gd name="connsiteY4" fmla="*/ 914400 h 914402"/>
                  <a:gd name="connsiteX5" fmla="*/ 0 w 1843664"/>
                  <a:gd name="connsiteY5" fmla="*/ 457202 h 914402"/>
                  <a:gd name="connsiteX0" fmla="*/ 0 w 1843664"/>
                  <a:gd name="connsiteY0" fmla="*/ 0 h 914402"/>
                  <a:gd name="connsiteX1" fmla="*/ 1843664 w 1843664"/>
                  <a:gd name="connsiteY1" fmla="*/ 0 h 914402"/>
                  <a:gd name="connsiteX2" fmla="*/ 1828800 w 1843664"/>
                  <a:gd name="connsiteY2" fmla="*/ 457200 h 914402"/>
                  <a:gd name="connsiteX3" fmla="*/ 1843663 w 1843664"/>
                  <a:gd name="connsiteY3" fmla="*/ 914402 h 914402"/>
                  <a:gd name="connsiteX4" fmla="*/ 0 w 1843664"/>
                  <a:gd name="connsiteY4" fmla="*/ 914400 h 914402"/>
                  <a:gd name="connsiteX5" fmla="*/ 0 w 1843664"/>
                  <a:gd name="connsiteY5" fmla="*/ 457202 h 914402"/>
                  <a:gd name="connsiteX0" fmla="*/ 0 w 1843664"/>
                  <a:gd name="connsiteY0" fmla="*/ 0 h 914402"/>
                  <a:gd name="connsiteX1" fmla="*/ 1843664 w 1843664"/>
                  <a:gd name="connsiteY1" fmla="*/ 0 h 914402"/>
                  <a:gd name="connsiteX2" fmla="*/ 1828800 w 1843664"/>
                  <a:gd name="connsiteY2" fmla="*/ 457200 h 914402"/>
                  <a:gd name="connsiteX3" fmla="*/ 1843663 w 1843664"/>
                  <a:gd name="connsiteY3" fmla="*/ 914402 h 914402"/>
                  <a:gd name="connsiteX4" fmla="*/ 0 w 1843664"/>
                  <a:gd name="connsiteY4" fmla="*/ 914400 h 914402"/>
                  <a:gd name="connsiteX5" fmla="*/ 0 w 1843664"/>
                  <a:gd name="connsiteY5" fmla="*/ 457202 h 914402"/>
                  <a:gd name="connsiteX0" fmla="*/ 0 w 1843663"/>
                  <a:gd name="connsiteY0" fmla="*/ 0 h 914402"/>
                  <a:gd name="connsiteX1" fmla="*/ 1757695 w 1843663"/>
                  <a:gd name="connsiteY1" fmla="*/ 0 h 914402"/>
                  <a:gd name="connsiteX2" fmla="*/ 1828800 w 1843663"/>
                  <a:gd name="connsiteY2" fmla="*/ 457200 h 914402"/>
                  <a:gd name="connsiteX3" fmla="*/ 1843663 w 1843663"/>
                  <a:gd name="connsiteY3" fmla="*/ 914402 h 914402"/>
                  <a:gd name="connsiteX4" fmla="*/ 0 w 1843663"/>
                  <a:gd name="connsiteY4" fmla="*/ 914400 h 914402"/>
                  <a:gd name="connsiteX5" fmla="*/ 0 w 1843663"/>
                  <a:gd name="connsiteY5" fmla="*/ 457202 h 914402"/>
                  <a:gd name="connsiteX0" fmla="*/ 0 w 1828800"/>
                  <a:gd name="connsiteY0" fmla="*/ 0 h 914402"/>
                  <a:gd name="connsiteX1" fmla="*/ 1757695 w 1828800"/>
                  <a:gd name="connsiteY1" fmla="*/ 0 h 914402"/>
                  <a:gd name="connsiteX2" fmla="*/ 1828800 w 1828800"/>
                  <a:gd name="connsiteY2" fmla="*/ 457200 h 914402"/>
                  <a:gd name="connsiteX3" fmla="*/ 1757695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2">
                    <a:moveTo>
                      <a:pt x="0" y="0"/>
                    </a:moveTo>
                    <a:lnTo>
                      <a:pt x="1757695" y="0"/>
                    </a:lnTo>
                    <a:lnTo>
                      <a:pt x="1828800" y="457200"/>
                    </a:lnTo>
                    <a:lnTo>
                      <a:pt x="1757695" y="914402"/>
                    </a:lnTo>
                    <a:lnTo>
                      <a:pt x="0" y="914400"/>
                    </a:lnTo>
                    <a:lnTo>
                      <a:pt x="0" y="457202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 w="25400" cap="flat" cmpd="sng" algn="ctr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headEnd/>
                <a:tailEnd/>
              </a:ln>
              <a:effectLst/>
            </p:spPr>
            <p:txBody>
              <a:bodyPr lIns="70613" tIns="70613" rIns="70613" bIns="70613" anchor="ctr">
                <a:noAutofit/>
              </a:bodyPr>
              <a:lstStyle/>
              <a:p>
                <a:pPr marL="0" marR="0" lvl="0" indent="0" algn="l" defTabSz="879881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 typeface="Arial" charset="0"/>
                  <a:buChar char="▪"/>
                  <a:tabLst/>
                  <a:defRPr/>
                </a:pPr>
                <a:endPara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296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56" name="TextBox 4">
                <a:extLst>
                  <a:ext uri="{FF2B5EF4-FFF2-40B4-BE49-F238E27FC236}">
                    <a16:creationId xmlns:a16="http://schemas.microsoft.com/office/drawing/2014/main" id="{A2D1515E-9ECA-455A-9905-2E074E61A720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217777" y="1931424"/>
                <a:ext cx="2981803" cy="21132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marL="0" indent="0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193675" indent="-192088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600">
                    <a:solidFill>
                      <a:schemeClr val="tx1"/>
                    </a:solidFill>
                    <a:latin typeface="+mn-lt"/>
                  </a:defRPr>
                </a:lvl2pPr>
                <a:lvl3pPr marL="457200" indent="-261938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600">
                    <a:solidFill>
                      <a:schemeClr val="tx1"/>
                    </a:solidFill>
                    <a:latin typeface="+mn-lt"/>
                  </a:defRPr>
                </a:lvl3pPr>
                <a:lvl4pPr marL="614363" indent="-1555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600">
                    <a:solidFill>
                      <a:schemeClr val="tx1"/>
                    </a:solidFill>
                    <a:latin typeface="+mn-lt"/>
                  </a:defRPr>
                </a:lvl4pPr>
                <a:lvl5pPr marL="746125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5pPr>
                <a:lvl6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6pPr>
                <a:lvl7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7pPr>
                <a:lvl8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8pPr>
                <a:lvl9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marR="0" lvl="0" indent="0" algn="l" defTabSz="91352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Tx/>
                  <a:buNone/>
                  <a:tabLst/>
                  <a:defRPr/>
                </a:pPr>
                <a:r>
                  <a:rPr lang="en-US" b="1" kern="0" dirty="0">
                    <a:solidFill>
                      <a:srgbClr val="002960"/>
                    </a:solidFill>
                    <a:latin typeface="Arial"/>
                  </a:rPr>
                  <a:t>Step 1</a:t>
                </a: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296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: </a:t>
                </a:r>
                <a:r>
                  <a:rPr kumimoji="0" lang="en-US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296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elected categories</a:t>
                </a:r>
              </a:p>
            </p:txBody>
          </p:sp>
          <p:sp>
            <p:nvSpPr>
              <p:cNvPr id="57" name="Rectangle 37">
                <a:extLst>
                  <a:ext uri="{FF2B5EF4-FFF2-40B4-BE49-F238E27FC236}">
                    <a16:creationId xmlns:a16="http://schemas.microsoft.com/office/drawing/2014/main" id="{82BBB8F9-D6EE-4341-ABBA-98B7DA10A7A5}"/>
                  </a:ext>
                </a:extLst>
              </p:cNvPr>
              <p:cNvSpPr txBox="1"/>
              <p:nvPr/>
            </p:nvSpPr>
            <p:spPr>
              <a:xfrm>
                <a:off x="164017" y="2611067"/>
                <a:ext cx="3121368" cy="2958506"/>
              </a:xfrm>
              <a:prstGeom prst="rect">
                <a:avLst/>
              </a:prstGeom>
              <a:ln>
                <a:solidFill>
                  <a:schemeClr val="accent2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5"/>
              </a:lnRef>
              <a:fillRef idx="1">
                <a:schemeClr val="lt1"/>
              </a:fillRef>
              <a:effectRef idx="0">
                <a:schemeClr val="accent5"/>
              </a:effectRef>
              <a:fontRef idx="minor">
                <a:schemeClr val="dk1"/>
              </a:fontRef>
            </p:style>
            <p:txBody>
              <a:bodyPr vert="horz" wrap="square" lIns="0" tIns="0" rIns="0" bIns="0" rtlCol="0" anchor="t" anchorCtr="0">
                <a:spAutoFit/>
              </a:bodyPr>
              <a:lstStyle>
                <a:lvl1pPr marL="0" lvl="0" indent="0" defTabSz="895350">
                  <a:buFontTx/>
                  <a:buNone/>
                  <a:defRPr sz="1600">
                    <a:latin typeface="+mn-lt"/>
                  </a:defRPr>
                </a:lvl1pPr>
                <a:lvl2pPr marL="193675" indent="-192088" defTabSz="895350">
                  <a:defRPr sz="1600">
                    <a:latin typeface="+mn-lt"/>
                  </a:defRPr>
                </a:lvl2pPr>
                <a:lvl3pPr marL="457200" indent="-261938" defTabSz="895350">
                  <a:buSzPct val="120000"/>
                  <a:buChar char="–"/>
                  <a:defRPr sz="1600">
                    <a:latin typeface="+mn-lt"/>
                  </a:defRPr>
                </a:lvl3pPr>
                <a:lvl4pPr marL="614363" indent="-155575" defTabSz="895350">
                  <a:buSzPct val="120000"/>
                  <a:buChar char="▫"/>
                  <a:defRPr sz="1600">
                    <a:latin typeface="+mn-lt"/>
                  </a:defRPr>
                </a:lvl4pPr>
                <a:lvl5pPr marL="746125" indent="-130175" defTabSz="895350">
                  <a:buSzPct val="89000"/>
                  <a:buChar char="-"/>
                  <a:defRPr sz="1600">
                    <a:latin typeface="+mn-lt"/>
                  </a:defRPr>
                </a:lvl5pPr>
                <a:lvl6pPr marL="12033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latin typeface="+mn-lt"/>
                  </a:defRPr>
                </a:lvl6pPr>
                <a:lvl7pPr marL="16605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latin typeface="+mn-lt"/>
                  </a:defRPr>
                </a:lvl7pPr>
                <a:lvl8pPr marL="21177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latin typeface="+mn-lt"/>
                  </a:defRPr>
                </a:lvl8pPr>
                <a:lvl9pPr marL="25749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latin typeface="+mn-lt"/>
                  </a:defRPr>
                </a:lvl9pPr>
              </a:lstStyle>
              <a:p>
                <a:pPr marL="1620" marR="0" lvl="1" indent="0" algn="l" defTabSz="913526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tabLst/>
                  <a:defRPr/>
                </a:pP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Reviewed nutrition priorities and selected categories</a:t>
                </a:r>
              </a:p>
              <a:p>
                <a:pPr marL="1620" marR="0" lvl="1" indent="0" algn="l" defTabSz="913526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tabLst/>
                  <a:defRPr/>
                </a:pPr>
                <a:endPara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  <a:p>
                <a:pPr marL="461132" marR="0" lvl="2" indent="-195987" algn="l" defTabSz="913526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 typeface="Arial" charset="0"/>
                  <a:buChar char="▪"/>
                  <a:tabLst/>
                  <a:defRPr/>
                </a:pP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Maternal, Infant, Young Child, Older Children and Adolescent Nutrition</a:t>
                </a:r>
              </a:p>
              <a:p>
                <a:pPr marL="461132" marR="0" lvl="2" indent="-195987" algn="l" defTabSz="913526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 typeface="Arial" charset="0"/>
                  <a:buChar char="▪"/>
                  <a:tabLst/>
                  <a:defRPr/>
                </a:pP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Financial and socio economic impacts</a:t>
                </a:r>
              </a:p>
              <a:p>
                <a:pPr marL="461132" marR="0" lvl="2" indent="-195987" algn="l" defTabSz="913526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 typeface="Arial" charset="0"/>
                  <a:buChar char="▪"/>
                  <a:tabLst/>
                  <a:defRPr/>
                </a:pP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Micronutrient supplementation</a:t>
                </a:r>
              </a:p>
              <a:p>
                <a:pPr marL="461132" marR="0" lvl="2" indent="-195987" algn="l" defTabSz="913526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 typeface="Arial" charset="0"/>
                  <a:buChar char="▪"/>
                  <a:tabLst/>
                  <a:defRPr/>
                </a:pP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Governance, Policy, Coordination and NIS</a:t>
                </a:r>
              </a:p>
              <a:p>
                <a:pPr marL="461132" marR="0" lvl="2" indent="-195987" algn="l" defTabSz="913526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 typeface="Arial" charset="0"/>
                  <a:buChar char="▪"/>
                  <a:tabLst/>
                  <a:defRPr/>
                </a:pPr>
                <a:r>
                  <a:rPr lang="en-US" kern="0" dirty="0">
                    <a:solidFill>
                      <a:srgbClr val="000000"/>
                    </a:solidFill>
                    <a:latin typeface="Calibri" panose="020F0502020204030204"/>
                  </a:rPr>
                  <a:t>Nutrition Sensitive</a:t>
                </a: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  <a:p>
                <a:pPr marL="461132" marR="0" lvl="2" indent="-195987" algn="l" defTabSz="913526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 typeface="Arial" charset="0"/>
                  <a:buChar char="▪"/>
                  <a:tabLst/>
                  <a:defRPr/>
                </a:pP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National level: impact/outcome level</a:t>
                </a: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 </a:t>
                </a:r>
                <a:endParaRPr kumimoji="0" lang="en-US" sz="13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AD4F52C5-EA24-4E03-9D94-30102DDD51BB}"/>
                </a:ext>
              </a:extLst>
            </p:cNvPr>
            <p:cNvGrpSpPr/>
            <p:nvPr/>
          </p:nvGrpSpPr>
          <p:grpSpPr>
            <a:xfrm>
              <a:off x="3461888" y="1755113"/>
              <a:ext cx="3095948" cy="3603136"/>
              <a:chOff x="3461888" y="1755113"/>
              <a:chExt cx="3095948" cy="3603136"/>
            </a:xfrm>
          </p:grpSpPr>
          <p:sp>
            <p:nvSpPr>
              <p:cNvPr id="51" name="Rectangle 25">
                <a:extLst>
                  <a:ext uri="{FF2B5EF4-FFF2-40B4-BE49-F238E27FC236}">
                    <a16:creationId xmlns:a16="http://schemas.microsoft.com/office/drawing/2014/main" id="{F910B909-65B2-409D-8823-FAB77249B90F}"/>
                  </a:ext>
                </a:extLst>
              </p:cNvPr>
              <p:cNvSpPr txBox="1"/>
              <p:nvPr/>
            </p:nvSpPr>
            <p:spPr>
              <a:xfrm>
                <a:off x="3461888" y="2611065"/>
                <a:ext cx="3095948" cy="2747184"/>
              </a:xfrm>
              <a:prstGeom prst="rect">
                <a:avLst/>
              </a:prstGeom>
            </p:spPr>
            <p:style>
              <a:lnRef idx="2">
                <a:schemeClr val="accent4"/>
              </a:lnRef>
              <a:fillRef idx="1">
                <a:schemeClr val="lt1"/>
              </a:fillRef>
              <a:effectRef idx="0">
                <a:schemeClr val="accent4"/>
              </a:effectRef>
              <a:fontRef idx="minor">
                <a:schemeClr val="dk1"/>
              </a:fontRef>
            </p:style>
            <p:txBody>
              <a:bodyPr vert="horz" wrap="square" lIns="0" tIns="0" rIns="0" bIns="0" rtlCol="0" anchor="t" anchorCtr="0">
                <a:spAutoFit/>
              </a:bodyPr>
              <a:lstStyle>
                <a:lvl1pPr marL="0" lvl="0" indent="0" defTabSz="895350">
                  <a:buFontTx/>
                  <a:buNone/>
                  <a:defRPr sz="1600">
                    <a:latin typeface="+mn-lt"/>
                  </a:defRPr>
                </a:lvl1pPr>
                <a:lvl2pPr marL="193675" indent="-192088" defTabSz="895350">
                  <a:defRPr sz="1600">
                    <a:latin typeface="+mn-lt"/>
                  </a:defRPr>
                </a:lvl2pPr>
                <a:lvl3pPr marL="457200" indent="-261938" defTabSz="895350">
                  <a:buSzPct val="120000"/>
                  <a:buChar char="–"/>
                  <a:defRPr sz="1600">
                    <a:latin typeface="+mn-lt"/>
                  </a:defRPr>
                </a:lvl3pPr>
                <a:lvl4pPr marL="614363" indent="-155575" defTabSz="895350">
                  <a:buSzPct val="120000"/>
                  <a:buChar char="▫"/>
                  <a:defRPr sz="1600">
                    <a:latin typeface="+mn-lt"/>
                  </a:defRPr>
                </a:lvl4pPr>
                <a:lvl5pPr marL="746125" indent="-130175" defTabSz="895350">
                  <a:buSzPct val="89000"/>
                  <a:buChar char="-"/>
                  <a:defRPr sz="1600">
                    <a:latin typeface="+mn-lt"/>
                  </a:defRPr>
                </a:lvl5pPr>
                <a:lvl6pPr marL="12033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latin typeface="+mn-lt"/>
                  </a:defRPr>
                </a:lvl6pPr>
                <a:lvl7pPr marL="16605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latin typeface="+mn-lt"/>
                  </a:defRPr>
                </a:lvl7pPr>
                <a:lvl8pPr marL="21177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latin typeface="+mn-lt"/>
                  </a:defRPr>
                </a:lvl8pPr>
                <a:lvl9pPr marL="25749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latin typeface="+mn-lt"/>
                  </a:defRPr>
                </a:lvl9pPr>
              </a:lstStyle>
              <a:p>
                <a:pPr marL="1620" marR="0" lvl="1" indent="0" algn="l" defTabSz="913526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tabLst/>
                  <a:defRPr/>
                </a:pP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Identified priority indicators:</a:t>
                </a:r>
              </a:p>
              <a:p>
                <a:pPr marL="1620" marR="0" lvl="1" indent="0" algn="l" defTabSz="913526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tabLst/>
                  <a:defRPr/>
                </a:pPr>
                <a:endPara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  <a:p>
                <a:pPr marL="1620" marR="0" lvl="1" indent="0" algn="l" defTabSz="913526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tabLst/>
                  <a:defRPr/>
                </a:pPr>
                <a:endPara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  <a:p>
                <a:pPr marL="197607" marR="0" lvl="1" indent="-195987" algn="l" defTabSz="913526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 typeface="Arial" charset="0"/>
                  <a:buChar char="▪"/>
                  <a:tabLst/>
                  <a:defRPr/>
                </a:pPr>
                <a:r>
                  <a:rPr lang="en-US" kern="0" dirty="0">
                    <a:solidFill>
                      <a:srgbClr val="000000"/>
                    </a:solidFill>
                    <a:latin typeface="Calibri" panose="020F0502020204030204"/>
                  </a:rPr>
                  <a:t>S</a:t>
                </a:r>
                <a:r>
                  <a:rPr kumimoji="0" lang="en-US" sz="16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rategic</a:t>
                </a: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 plans: FSNP-IF, KNAP, KHSSP, CNAPS</a:t>
                </a:r>
              </a:p>
              <a:p>
                <a:pPr marL="197607" marR="0" lvl="1" indent="-195987" algn="l" defTabSz="913526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 typeface="Arial" charset="0"/>
                  <a:buChar char="▪"/>
                  <a:tabLst/>
                  <a:defRPr/>
                </a:pP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Life cycle approach</a:t>
                </a:r>
              </a:p>
              <a:p>
                <a:pPr marL="197607" marR="0" lvl="1" indent="-195987" algn="l" defTabSz="913526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 typeface="Arial" charset="0"/>
                  <a:buChar char="▪"/>
                  <a:tabLst/>
                  <a:defRPr/>
                </a:pP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Nutrition specific and sensitive indicators </a:t>
                </a:r>
              </a:p>
              <a:p>
                <a:pPr marL="197607" marR="0" lvl="1" indent="-195987" algn="l" defTabSz="913526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 typeface="Arial" charset="0"/>
                  <a:buChar char="▪"/>
                  <a:tabLst/>
                  <a:defRPr/>
                </a:pP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30 priority indicators identified</a:t>
                </a:r>
              </a:p>
              <a:p>
                <a:pPr marL="550895" marR="0" lvl="2" indent="-285750" algn="l" defTabSz="913526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 typeface="Courier New" panose="02070309020205020404" pitchFamily="49" charset="0"/>
                  <a:buChar char="o"/>
                  <a:tabLst/>
                  <a:defRPr/>
                </a:pP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13 national: impact/outcome level  </a:t>
                </a:r>
              </a:p>
              <a:p>
                <a:pPr marL="550895" marR="0" lvl="2" indent="-285750" algn="l" defTabSz="913526" rtl="0" eaLnBrk="0" fontAlgn="base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 typeface="Courier New" panose="02070309020205020404" pitchFamily="49" charset="0"/>
                  <a:buChar char="o"/>
                  <a:tabLst/>
                  <a:defRPr/>
                </a:pP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17 subnational level and country aggregates</a:t>
                </a:r>
              </a:p>
            </p:txBody>
          </p:sp>
          <p:sp>
            <p:nvSpPr>
              <p:cNvPr id="52" name="Freeform 8">
                <a:extLst>
                  <a:ext uri="{FF2B5EF4-FFF2-40B4-BE49-F238E27FC236}">
                    <a16:creationId xmlns:a16="http://schemas.microsoft.com/office/drawing/2014/main" id="{3CBB85BA-FE1F-4922-81D3-5B148E150D0D}"/>
                  </a:ext>
                </a:extLst>
              </p:cNvPr>
              <p:cNvSpPr/>
              <p:nvPr>
                <p:custDataLst>
                  <p:tags r:id="rId6"/>
                </p:custDataLst>
              </p:nvPr>
            </p:nvSpPr>
            <p:spPr bwMode="auto">
              <a:xfrm>
                <a:off x="3461889" y="1755113"/>
                <a:ext cx="3094445" cy="700916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1 h 914400"/>
                  <a:gd name="connsiteX0" fmla="*/ 0 w 1828800"/>
                  <a:gd name="connsiteY0" fmla="*/ 0 h 914400"/>
                  <a:gd name="connsiteX1" fmla="*/ 1749399 w 1828800"/>
                  <a:gd name="connsiteY1" fmla="*/ 1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1 h 914400"/>
                  <a:gd name="connsiteX0" fmla="*/ 0 w 1828800"/>
                  <a:gd name="connsiteY0" fmla="*/ 0 h 914402"/>
                  <a:gd name="connsiteX1" fmla="*/ 1749399 w 1828800"/>
                  <a:gd name="connsiteY1" fmla="*/ 1 h 914402"/>
                  <a:gd name="connsiteX2" fmla="*/ 1828800 w 1828800"/>
                  <a:gd name="connsiteY2" fmla="*/ 457200 h 914402"/>
                  <a:gd name="connsiteX3" fmla="*/ 1749399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1 h 914402"/>
                  <a:gd name="connsiteX0" fmla="*/ 0 w 1828800"/>
                  <a:gd name="connsiteY0" fmla="*/ 0 h 914402"/>
                  <a:gd name="connsiteX1" fmla="*/ 1749399 w 1828800"/>
                  <a:gd name="connsiteY1" fmla="*/ 1 h 914402"/>
                  <a:gd name="connsiteX2" fmla="*/ 1828800 w 1828800"/>
                  <a:gd name="connsiteY2" fmla="*/ 457200 h 914402"/>
                  <a:gd name="connsiteX3" fmla="*/ 1749399 w 1828800"/>
                  <a:gd name="connsiteY3" fmla="*/ 914402 h 914402"/>
                  <a:gd name="connsiteX4" fmla="*/ 0 w 1828800"/>
                  <a:gd name="connsiteY4" fmla="*/ 914400 h 914402"/>
                  <a:gd name="connsiteX5" fmla="*/ 79401 w 1828800"/>
                  <a:gd name="connsiteY5" fmla="*/ 457202 h 914402"/>
                  <a:gd name="connsiteX0" fmla="*/ 0 w 1828800"/>
                  <a:gd name="connsiteY0" fmla="*/ 0 h 914402"/>
                  <a:gd name="connsiteX1" fmla="*/ 1749399 w 1828800"/>
                  <a:gd name="connsiteY1" fmla="*/ 0 h 914402"/>
                  <a:gd name="connsiteX2" fmla="*/ 1828800 w 1828800"/>
                  <a:gd name="connsiteY2" fmla="*/ 457200 h 914402"/>
                  <a:gd name="connsiteX3" fmla="*/ 1749399 w 1828800"/>
                  <a:gd name="connsiteY3" fmla="*/ 914402 h 914402"/>
                  <a:gd name="connsiteX4" fmla="*/ 0 w 1828800"/>
                  <a:gd name="connsiteY4" fmla="*/ 914400 h 914402"/>
                  <a:gd name="connsiteX5" fmla="*/ 79401 w 1828800"/>
                  <a:gd name="connsiteY5" fmla="*/ 457202 h 914402"/>
                  <a:gd name="connsiteX0" fmla="*/ 0 w 1828800"/>
                  <a:gd name="connsiteY0" fmla="*/ 0 h 914402"/>
                  <a:gd name="connsiteX1" fmla="*/ 1749399 w 1828800"/>
                  <a:gd name="connsiteY1" fmla="*/ 0 h 914402"/>
                  <a:gd name="connsiteX2" fmla="*/ 1828800 w 1828800"/>
                  <a:gd name="connsiteY2" fmla="*/ 457200 h 914402"/>
                  <a:gd name="connsiteX3" fmla="*/ 1749399 w 1828800"/>
                  <a:gd name="connsiteY3" fmla="*/ 914402 h 914402"/>
                  <a:gd name="connsiteX4" fmla="*/ 0 w 1828800"/>
                  <a:gd name="connsiteY4" fmla="*/ 914400 h 914402"/>
                  <a:gd name="connsiteX5" fmla="*/ 79401 w 1828800"/>
                  <a:gd name="connsiteY5" fmla="*/ 457202 h 914402"/>
                  <a:gd name="connsiteX0" fmla="*/ 0 w 1828800"/>
                  <a:gd name="connsiteY0" fmla="*/ 0 h 914402"/>
                  <a:gd name="connsiteX1" fmla="*/ 1749399 w 1828800"/>
                  <a:gd name="connsiteY1" fmla="*/ 0 h 914402"/>
                  <a:gd name="connsiteX2" fmla="*/ 1828800 w 1828800"/>
                  <a:gd name="connsiteY2" fmla="*/ 457200 h 914402"/>
                  <a:gd name="connsiteX3" fmla="*/ 1749399 w 1828800"/>
                  <a:gd name="connsiteY3" fmla="*/ 914402 h 914402"/>
                  <a:gd name="connsiteX4" fmla="*/ 0 w 1828800"/>
                  <a:gd name="connsiteY4" fmla="*/ 914400 h 914402"/>
                  <a:gd name="connsiteX5" fmla="*/ 118532 w 1828800"/>
                  <a:gd name="connsiteY5" fmla="*/ 457202 h 914402"/>
                  <a:gd name="connsiteX0" fmla="*/ 0 w 1828800"/>
                  <a:gd name="connsiteY0" fmla="*/ 0 h 914402"/>
                  <a:gd name="connsiteX1" fmla="*/ 1710267 w 1828800"/>
                  <a:gd name="connsiteY1" fmla="*/ 0 h 914402"/>
                  <a:gd name="connsiteX2" fmla="*/ 1828800 w 1828800"/>
                  <a:gd name="connsiteY2" fmla="*/ 457200 h 914402"/>
                  <a:gd name="connsiteX3" fmla="*/ 1749399 w 1828800"/>
                  <a:gd name="connsiteY3" fmla="*/ 914402 h 914402"/>
                  <a:gd name="connsiteX4" fmla="*/ 0 w 1828800"/>
                  <a:gd name="connsiteY4" fmla="*/ 914400 h 914402"/>
                  <a:gd name="connsiteX5" fmla="*/ 118532 w 1828800"/>
                  <a:gd name="connsiteY5" fmla="*/ 457202 h 914402"/>
                  <a:gd name="connsiteX0" fmla="*/ 0 w 1828800"/>
                  <a:gd name="connsiteY0" fmla="*/ 0 h 914402"/>
                  <a:gd name="connsiteX1" fmla="*/ 1710267 w 1828800"/>
                  <a:gd name="connsiteY1" fmla="*/ 0 h 914402"/>
                  <a:gd name="connsiteX2" fmla="*/ 1828800 w 1828800"/>
                  <a:gd name="connsiteY2" fmla="*/ 457200 h 914402"/>
                  <a:gd name="connsiteX3" fmla="*/ 1710267 w 1828800"/>
                  <a:gd name="connsiteY3" fmla="*/ 914402 h 914402"/>
                  <a:gd name="connsiteX4" fmla="*/ 0 w 1828800"/>
                  <a:gd name="connsiteY4" fmla="*/ 914400 h 914402"/>
                  <a:gd name="connsiteX5" fmla="*/ 118532 w 1828800"/>
                  <a:gd name="connsiteY5" fmla="*/ 457202 h 914402"/>
                  <a:gd name="connsiteX0" fmla="*/ 0 w 1828800"/>
                  <a:gd name="connsiteY0" fmla="*/ 0 h 914402"/>
                  <a:gd name="connsiteX1" fmla="*/ 1710267 w 1828800"/>
                  <a:gd name="connsiteY1" fmla="*/ 0 h 914402"/>
                  <a:gd name="connsiteX2" fmla="*/ 1828800 w 1828800"/>
                  <a:gd name="connsiteY2" fmla="*/ 457200 h 914402"/>
                  <a:gd name="connsiteX3" fmla="*/ 1710267 w 1828800"/>
                  <a:gd name="connsiteY3" fmla="*/ 914402 h 914402"/>
                  <a:gd name="connsiteX4" fmla="*/ 0 w 1828800"/>
                  <a:gd name="connsiteY4" fmla="*/ 914400 h 914402"/>
                  <a:gd name="connsiteX5" fmla="*/ 154534 w 1828800"/>
                  <a:gd name="connsiteY5" fmla="*/ 457202 h 914402"/>
                  <a:gd name="connsiteX0" fmla="*/ 0 w 1828800"/>
                  <a:gd name="connsiteY0" fmla="*/ 0 h 914402"/>
                  <a:gd name="connsiteX1" fmla="*/ 1674266 w 1828800"/>
                  <a:gd name="connsiteY1" fmla="*/ 0 h 914402"/>
                  <a:gd name="connsiteX2" fmla="*/ 1828800 w 1828800"/>
                  <a:gd name="connsiteY2" fmla="*/ 457200 h 914402"/>
                  <a:gd name="connsiteX3" fmla="*/ 1710267 w 1828800"/>
                  <a:gd name="connsiteY3" fmla="*/ 914402 h 914402"/>
                  <a:gd name="connsiteX4" fmla="*/ 0 w 1828800"/>
                  <a:gd name="connsiteY4" fmla="*/ 914400 h 914402"/>
                  <a:gd name="connsiteX5" fmla="*/ 154534 w 1828800"/>
                  <a:gd name="connsiteY5" fmla="*/ 457202 h 914402"/>
                  <a:gd name="connsiteX0" fmla="*/ 0 w 1828800"/>
                  <a:gd name="connsiteY0" fmla="*/ 0 h 914402"/>
                  <a:gd name="connsiteX1" fmla="*/ 1674266 w 1828800"/>
                  <a:gd name="connsiteY1" fmla="*/ 0 h 914402"/>
                  <a:gd name="connsiteX2" fmla="*/ 1828800 w 1828800"/>
                  <a:gd name="connsiteY2" fmla="*/ 457200 h 914402"/>
                  <a:gd name="connsiteX3" fmla="*/ 1674266 w 1828800"/>
                  <a:gd name="connsiteY3" fmla="*/ 914402 h 914402"/>
                  <a:gd name="connsiteX4" fmla="*/ 0 w 1828800"/>
                  <a:gd name="connsiteY4" fmla="*/ 914400 h 914402"/>
                  <a:gd name="connsiteX5" fmla="*/ 154534 w 1828800"/>
                  <a:gd name="connsiteY5" fmla="*/ 457202 h 914402"/>
                  <a:gd name="connsiteX0" fmla="*/ 0 w 1828800"/>
                  <a:gd name="connsiteY0" fmla="*/ 0 h 914402"/>
                  <a:gd name="connsiteX1" fmla="*/ 1674266 w 1828800"/>
                  <a:gd name="connsiteY1" fmla="*/ 0 h 914402"/>
                  <a:gd name="connsiteX2" fmla="*/ 1828800 w 1828800"/>
                  <a:gd name="connsiteY2" fmla="*/ 457200 h 914402"/>
                  <a:gd name="connsiteX3" fmla="*/ 1674266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4266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85969 w 1828800"/>
                  <a:gd name="connsiteY5" fmla="*/ 457202 h 914402"/>
                  <a:gd name="connsiteX0" fmla="*/ 0 w 1828800"/>
                  <a:gd name="connsiteY0" fmla="*/ 0 h 914402"/>
                  <a:gd name="connsiteX1" fmla="*/ 174283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85969 w 1828800"/>
                  <a:gd name="connsiteY5" fmla="*/ 457202 h 914402"/>
                  <a:gd name="connsiteX0" fmla="*/ 0 w 1828800"/>
                  <a:gd name="connsiteY0" fmla="*/ 0 h 914402"/>
                  <a:gd name="connsiteX1" fmla="*/ 1742831 w 1828800"/>
                  <a:gd name="connsiteY1" fmla="*/ 0 h 914402"/>
                  <a:gd name="connsiteX2" fmla="*/ 1828800 w 1828800"/>
                  <a:gd name="connsiteY2" fmla="*/ 457200 h 914402"/>
                  <a:gd name="connsiteX3" fmla="*/ 1742831 w 1828800"/>
                  <a:gd name="connsiteY3" fmla="*/ 914402 h 914402"/>
                  <a:gd name="connsiteX4" fmla="*/ 0 w 1828800"/>
                  <a:gd name="connsiteY4" fmla="*/ 914400 h 914402"/>
                  <a:gd name="connsiteX5" fmla="*/ 85969 w 1828800"/>
                  <a:gd name="connsiteY5" fmla="*/ 457202 h 914402"/>
                  <a:gd name="connsiteX0" fmla="*/ 0 w 1828800"/>
                  <a:gd name="connsiteY0" fmla="*/ 0 h 914402"/>
                  <a:gd name="connsiteX1" fmla="*/ 1742831 w 1828800"/>
                  <a:gd name="connsiteY1" fmla="*/ 0 h 914402"/>
                  <a:gd name="connsiteX2" fmla="*/ 1828800 w 1828800"/>
                  <a:gd name="connsiteY2" fmla="*/ 457200 h 914402"/>
                  <a:gd name="connsiteX3" fmla="*/ 174283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742831 w 1828800"/>
                  <a:gd name="connsiteY1" fmla="*/ 0 h 914402"/>
                  <a:gd name="connsiteX2" fmla="*/ 1828800 w 1828800"/>
                  <a:gd name="connsiteY2" fmla="*/ 457200 h 914402"/>
                  <a:gd name="connsiteX3" fmla="*/ 174283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742831 w 1828800"/>
                  <a:gd name="connsiteY1" fmla="*/ 0 h 914402"/>
                  <a:gd name="connsiteX2" fmla="*/ 1828800 w 1828800"/>
                  <a:gd name="connsiteY2" fmla="*/ 457200 h 914402"/>
                  <a:gd name="connsiteX3" fmla="*/ 174283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742831 w 1828800"/>
                  <a:gd name="connsiteY1" fmla="*/ 0 h 914402"/>
                  <a:gd name="connsiteX2" fmla="*/ 1828800 w 1828800"/>
                  <a:gd name="connsiteY2" fmla="*/ 457200 h 914402"/>
                  <a:gd name="connsiteX3" fmla="*/ 1742831 w 1828800"/>
                  <a:gd name="connsiteY3" fmla="*/ 914402 h 914402"/>
                  <a:gd name="connsiteX4" fmla="*/ 0 w 1828800"/>
                  <a:gd name="connsiteY4" fmla="*/ 914400 h 914402"/>
                  <a:gd name="connsiteX5" fmla="*/ 85969 w 1828800"/>
                  <a:gd name="connsiteY5" fmla="*/ 457202 h 914402"/>
                  <a:gd name="connsiteX0" fmla="*/ 0 w 1828800"/>
                  <a:gd name="connsiteY0" fmla="*/ 0 h 914402"/>
                  <a:gd name="connsiteX1" fmla="*/ 1742831 w 1828800"/>
                  <a:gd name="connsiteY1" fmla="*/ 0 h 914402"/>
                  <a:gd name="connsiteX2" fmla="*/ 1828800 w 1828800"/>
                  <a:gd name="connsiteY2" fmla="*/ 457200 h 914402"/>
                  <a:gd name="connsiteX3" fmla="*/ 1742831 w 1828800"/>
                  <a:gd name="connsiteY3" fmla="*/ 914402 h 914402"/>
                  <a:gd name="connsiteX4" fmla="*/ 0 w 1828800"/>
                  <a:gd name="connsiteY4" fmla="*/ 914400 h 914402"/>
                  <a:gd name="connsiteX5" fmla="*/ 85969 w 1828800"/>
                  <a:gd name="connsiteY5" fmla="*/ 457202 h 914402"/>
                  <a:gd name="connsiteX0" fmla="*/ 0 w 1828800"/>
                  <a:gd name="connsiteY0" fmla="*/ 0 h 914402"/>
                  <a:gd name="connsiteX1" fmla="*/ 1742831 w 1828800"/>
                  <a:gd name="connsiteY1" fmla="*/ 0 h 914402"/>
                  <a:gd name="connsiteX2" fmla="*/ 1828800 w 1828800"/>
                  <a:gd name="connsiteY2" fmla="*/ 457200 h 914402"/>
                  <a:gd name="connsiteX3" fmla="*/ 1742831 w 1828800"/>
                  <a:gd name="connsiteY3" fmla="*/ 914402 h 914402"/>
                  <a:gd name="connsiteX4" fmla="*/ 0 w 1828800"/>
                  <a:gd name="connsiteY4" fmla="*/ 914400 h 914402"/>
                  <a:gd name="connsiteX5" fmla="*/ 85969 w 1828800"/>
                  <a:gd name="connsiteY5" fmla="*/ 457202 h 914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2">
                    <a:moveTo>
                      <a:pt x="0" y="0"/>
                    </a:moveTo>
                    <a:lnTo>
                      <a:pt x="1742831" y="0"/>
                    </a:lnTo>
                    <a:lnTo>
                      <a:pt x="1828800" y="457200"/>
                    </a:lnTo>
                    <a:lnTo>
                      <a:pt x="1742831" y="914402"/>
                    </a:lnTo>
                    <a:lnTo>
                      <a:pt x="0" y="914400"/>
                    </a:lnTo>
                    <a:lnTo>
                      <a:pt x="85969" y="457202"/>
                    </a:lnTo>
                    <a:close/>
                  </a:path>
                </a:pathLst>
              </a:custGeom>
              <a:ln>
                <a:headEnd/>
                <a:tailEnd/>
              </a:ln>
            </p:spPr>
            <p:style>
              <a:lnRef idx="2">
                <a:schemeClr val="accent4"/>
              </a:lnRef>
              <a:fillRef idx="1">
                <a:schemeClr val="lt1"/>
              </a:fillRef>
              <a:effectRef idx="0">
                <a:schemeClr val="accent4"/>
              </a:effectRef>
              <a:fontRef idx="minor">
                <a:schemeClr val="dk1"/>
              </a:fontRef>
            </p:style>
            <p:txBody>
              <a:bodyPr lIns="70613" tIns="70613" rIns="70613" bIns="70613" anchor="ctr">
                <a:noAutofit/>
              </a:bodyPr>
              <a:lstStyle/>
              <a:p>
                <a:pPr marL="0" marR="0" lvl="0" indent="0" algn="l" defTabSz="879881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 typeface="Arial" charset="0"/>
                  <a:buChar char="▪"/>
                  <a:tabLst/>
                  <a:defRPr/>
                </a:pPr>
                <a:endPara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296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53" name="TextBox 4">
                <a:extLst>
                  <a:ext uri="{FF2B5EF4-FFF2-40B4-BE49-F238E27FC236}">
                    <a16:creationId xmlns:a16="http://schemas.microsoft.com/office/drawing/2014/main" id="{17243221-3220-4788-8E26-7A48065CE7FE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3724620" y="1871220"/>
                <a:ext cx="2635728" cy="42264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marL="0" indent="0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193675" indent="-192088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600">
                    <a:solidFill>
                      <a:schemeClr val="tx1"/>
                    </a:solidFill>
                    <a:latin typeface="+mn-lt"/>
                  </a:defRPr>
                </a:lvl2pPr>
                <a:lvl3pPr marL="457200" indent="-261938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600">
                    <a:solidFill>
                      <a:schemeClr val="tx1"/>
                    </a:solidFill>
                    <a:latin typeface="+mn-lt"/>
                  </a:defRPr>
                </a:lvl3pPr>
                <a:lvl4pPr marL="614363" indent="-1555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600">
                    <a:solidFill>
                      <a:schemeClr val="tx1"/>
                    </a:solidFill>
                    <a:latin typeface="+mn-lt"/>
                  </a:defRPr>
                </a:lvl4pPr>
                <a:lvl5pPr marL="746125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5pPr>
                <a:lvl6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6pPr>
                <a:lvl7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7pPr>
                <a:lvl8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8pPr>
                <a:lvl9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marR="0" lvl="0" indent="0" algn="l" defTabSz="91352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Tx/>
                  <a:buNone/>
                  <a:tabLst/>
                  <a:defRPr/>
                </a:pPr>
                <a:r>
                  <a:rPr lang="en-US" b="1" kern="0" dirty="0">
                    <a:solidFill>
                      <a:srgbClr val="002960"/>
                    </a:solidFill>
                    <a:latin typeface="Arial"/>
                  </a:rPr>
                  <a:t>Step 2</a:t>
                </a: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296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: </a:t>
                </a:r>
                <a:r>
                  <a:rPr kumimoji="0" lang="en-US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296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elected indicators in each category</a:t>
                </a:r>
              </a:p>
            </p:txBody>
          </p:sp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536BD370-854E-4927-875B-57A6D16B5263}"/>
                </a:ext>
              </a:extLst>
            </p:cNvPr>
            <p:cNvGrpSpPr/>
            <p:nvPr/>
          </p:nvGrpSpPr>
          <p:grpSpPr>
            <a:xfrm>
              <a:off x="9465568" y="1719343"/>
              <a:ext cx="2306343" cy="2280462"/>
              <a:chOff x="9465568" y="1719343"/>
              <a:chExt cx="2306343" cy="2280462"/>
            </a:xfrm>
          </p:grpSpPr>
          <p:sp>
            <p:nvSpPr>
              <p:cNvPr id="47" name="Rectangle 32">
                <a:extLst>
                  <a:ext uri="{FF2B5EF4-FFF2-40B4-BE49-F238E27FC236}">
                    <a16:creationId xmlns:a16="http://schemas.microsoft.com/office/drawing/2014/main" id="{C220F8B5-3F1A-4BB9-8698-FB6508710A90}"/>
                  </a:ext>
                </a:extLst>
              </p:cNvPr>
              <p:cNvSpPr txBox="1"/>
              <p:nvPr/>
            </p:nvSpPr>
            <p:spPr>
              <a:xfrm>
                <a:off x="9465568" y="2610364"/>
                <a:ext cx="2306343" cy="1389441"/>
              </a:xfrm>
              <a:prstGeom prst="rect">
                <a:avLst/>
              </a:prstGeom>
              <a:ln>
                <a:solidFill>
                  <a:srgbClr val="FFC000"/>
                </a:solidFill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vert="horz" wrap="square" lIns="0" tIns="0" rIns="0" bIns="0" rtlCol="0" anchor="t" anchorCtr="0">
                <a:spAutoFit/>
              </a:bodyPr>
              <a:lstStyle>
                <a:lvl1pPr marL="0" lvl="0" indent="0" defTabSz="895350">
                  <a:buFontTx/>
                  <a:buNone/>
                  <a:defRPr sz="1600">
                    <a:latin typeface="+mn-lt"/>
                  </a:defRPr>
                </a:lvl1pPr>
                <a:lvl2pPr marL="193675" indent="-192088" defTabSz="895350">
                  <a:defRPr sz="1600">
                    <a:latin typeface="+mn-lt"/>
                  </a:defRPr>
                </a:lvl2pPr>
                <a:lvl3pPr marL="457200" indent="-261938" defTabSz="895350">
                  <a:buSzPct val="120000"/>
                  <a:buChar char="–"/>
                  <a:defRPr sz="1600">
                    <a:latin typeface="+mn-lt"/>
                  </a:defRPr>
                </a:lvl3pPr>
                <a:lvl4pPr marL="614363" indent="-155575" defTabSz="895350">
                  <a:buSzPct val="120000"/>
                  <a:buChar char="▫"/>
                  <a:defRPr sz="1600">
                    <a:latin typeface="+mn-lt"/>
                  </a:defRPr>
                </a:lvl4pPr>
                <a:lvl5pPr marL="746125" indent="-130175" defTabSz="895350">
                  <a:buSzPct val="89000"/>
                  <a:buChar char="-"/>
                  <a:defRPr sz="1600">
                    <a:latin typeface="+mn-lt"/>
                  </a:defRPr>
                </a:lvl5pPr>
                <a:lvl6pPr marL="12033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latin typeface="+mn-lt"/>
                  </a:defRPr>
                </a:lvl6pPr>
                <a:lvl7pPr marL="16605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latin typeface="+mn-lt"/>
                  </a:defRPr>
                </a:lvl7pPr>
                <a:lvl8pPr marL="21177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latin typeface="+mn-lt"/>
                  </a:defRPr>
                </a:lvl8pPr>
                <a:lvl9pPr marL="25749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latin typeface="+mn-lt"/>
                  </a:defRPr>
                </a:lvl9pPr>
              </a:lstStyle>
              <a:p>
                <a:pPr marL="1620" marR="0" lvl="1" indent="0" algn="l" defTabSz="913526" rtl="0" eaLnBrk="0" fontAlgn="base" latinLnBrk="0" hangingPunct="0">
                  <a:lnSpc>
                    <a:spcPct val="100000"/>
                  </a:lnSpc>
                  <a:spcBef>
                    <a:spcPct val="3000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tabLst/>
                  <a:defRPr/>
                </a:pP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Populated the scorecard tool data</a:t>
                </a:r>
              </a:p>
              <a:p>
                <a:pPr marL="1620" marR="0" lvl="1" indent="0" algn="l" defTabSz="913526" rtl="0" eaLnBrk="0" fontAlgn="base" latinLnBrk="0" hangingPunct="0">
                  <a:lnSpc>
                    <a:spcPct val="100000"/>
                  </a:lnSpc>
                  <a:spcBef>
                    <a:spcPct val="30000"/>
                  </a:spcBef>
                  <a:spcAft>
                    <a:spcPct val="0"/>
                  </a:spcAft>
                  <a:buClr>
                    <a:srgbClr val="002960"/>
                  </a:buClr>
                  <a:buSzPct val="112000"/>
                  <a:tabLst/>
                  <a:defRPr/>
                </a:pP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 </a:t>
                </a:r>
                <a:r>
                  <a:rPr lang="en-US" kern="0" dirty="0">
                    <a:solidFill>
                      <a:srgbClr val="000000"/>
                    </a:solidFill>
                    <a:latin typeface="Calibri" panose="020F0502020204030204"/>
                  </a:rPr>
                  <a:t>DHIS, survey reports and program reports</a:t>
                </a:r>
              </a:p>
              <a:p>
                <a:pPr marL="287370" marR="0" lvl="1" indent="-285750" algn="l" defTabSz="913526" rtl="0" eaLnBrk="0" fontAlgn="base" latinLnBrk="0" hangingPunct="0">
                  <a:lnSpc>
                    <a:spcPct val="100000"/>
                  </a:lnSpc>
                  <a:spcBef>
                    <a:spcPct val="30000"/>
                  </a:spcBef>
                  <a:spcAft>
                    <a:spcPct val="0"/>
                  </a:spcAft>
                  <a:buClr>
                    <a:srgbClr val="002960"/>
                  </a:buClr>
                  <a:buSzPct val="112000"/>
                  <a:buFont typeface="Wingdings" panose="05000000000000000000" pitchFamily="2" charset="2"/>
                  <a:buChar char="§"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  <a:p>
                <a:pPr marL="197607" marR="0" lvl="1" indent="-195987" algn="l" defTabSz="913526" rtl="0" eaLnBrk="0" fontAlgn="base" latinLnBrk="0" hangingPunct="0">
                  <a:lnSpc>
                    <a:spcPct val="100000"/>
                  </a:lnSpc>
                  <a:spcBef>
                    <a:spcPct val="3000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 typeface="Arial" charset="0"/>
                  <a:buChar char="▪"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8" name="Freeform 25">
                <a:extLst>
                  <a:ext uri="{FF2B5EF4-FFF2-40B4-BE49-F238E27FC236}">
                    <a16:creationId xmlns:a16="http://schemas.microsoft.com/office/drawing/2014/main" id="{46BB2EC2-7680-40A2-B931-E2A0B885367E}"/>
                  </a:ext>
                </a:extLst>
              </p:cNvPr>
              <p:cNvSpPr/>
              <p:nvPr>
                <p:custDataLst>
                  <p:tags r:id="rId4"/>
                </p:custDataLst>
              </p:nvPr>
            </p:nvSpPr>
            <p:spPr bwMode="auto">
              <a:xfrm>
                <a:off x="9465568" y="1719343"/>
                <a:ext cx="2306343" cy="700916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1 h 914400"/>
                  <a:gd name="connsiteX0" fmla="*/ 0 w 1828800"/>
                  <a:gd name="connsiteY0" fmla="*/ 0 h 914400"/>
                  <a:gd name="connsiteX1" fmla="*/ 1749399 w 1828800"/>
                  <a:gd name="connsiteY1" fmla="*/ 1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1 h 914400"/>
                  <a:gd name="connsiteX0" fmla="*/ 0 w 1828800"/>
                  <a:gd name="connsiteY0" fmla="*/ 0 h 914402"/>
                  <a:gd name="connsiteX1" fmla="*/ 1749399 w 1828800"/>
                  <a:gd name="connsiteY1" fmla="*/ 1 h 914402"/>
                  <a:gd name="connsiteX2" fmla="*/ 1828800 w 1828800"/>
                  <a:gd name="connsiteY2" fmla="*/ 457200 h 914402"/>
                  <a:gd name="connsiteX3" fmla="*/ 1749399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1 h 914402"/>
                  <a:gd name="connsiteX0" fmla="*/ 0 w 1828800"/>
                  <a:gd name="connsiteY0" fmla="*/ 0 h 914402"/>
                  <a:gd name="connsiteX1" fmla="*/ 1749399 w 1828800"/>
                  <a:gd name="connsiteY1" fmla="*/ 1 h 914402"/>
                  <a:gd name="connsiteX2" fmla="*/ 1828800 w 1828800"/>
                  <a:gd name="connsiteY2" fmla="*/ 457200 h 914402"/>
                  <a:gd name="connsiteX3" fmla="*/ 1749399 w 1828800"/>
                  <a:gd name="connsiteY3" fmla="*/ 914402 h 914402"/>
                  <a:gd name="connsiteX4" fmla="*/ 0 w 1828800"/>
                  <a:gd name="connsiteY4" fmla="*/ 914400 h 914402"/>
                  <a:gd name="connsiteX5" fmla="*/ 79401 w 1828800"/>
                  <a:gd name="connsiteY5" fmla="*/ 457202 h 914402"/>
                  <a:gd name="connsiteX0" fmla="*/ 0 w 1828800"/>
                  <a:gd name="connsiteY0" fmla="*/ 0 h 914402"/>
                  <a:gd name="connsiteX1" fmla="*/ 1749399 w 1828800"/>
                  <a:gd name="connsiteY1" fmla="*/ 0 h 914402"/>
                  <a:gd name="connsiteX2" fmla="*/ 1828800 w 1828800"/>
                  <a:gd name="connsiteY2" fmla="*/ 457200 h 914402"/>
                  <a:gd name="connsiteX3" fmla="*/ 1749399 w 1828800"/>
                  <a:gd name="connsiteY3" fmla="*/ 914402 h 914402"/>
                  <a:gd name="connsiteX4" fmla="*/ 0 w 1828800"/>
                  <a:gd name="connsiteY4" fmla="*/ 914400 h 914402"/>
                  <a:gd name="connsiteX5" fmla="*/ 79401 w 1828800"/>
                  <a:gd name="connsiteY5" fmla="*/ 457202 h 914402"/>
                  <a:gd name="connsiteX0" fmla="*/ 0 w 1828800"/>
                  <a:gd name="connsiteY0" fmla="*/ 0 h 914402"/>
                  <a:gd name="connsiteX1" fmla="*/ 1749399 w 1828800"/>
                  <a:gd name="connsiteY1" fmla="*/ 0 h 914402"/>
                  <a:gd name="connsiteX2" fmla="*/ 1828800 w 1828800"/>
                  <a:gd name="connsiteY2" fmla="*/ 457200 h 914402"/>
                  <a:gd name="connsiteX3" fmla="*/ 1749399 w 1828800"/>
                  <a:gd name="connsiteY3" fmla="*/ 914402 h 914402"/>
                  <a:gd name="connsiteX4" fmla="*/ 0 w 1828800"/>
                  <a:gd name="connsiteY4" fmla="*/ 914400 h 914402"/>
                  <a:gd name="connsiteX5" fmla="*/ 79401 w 1828800"/>
                  <a:gd name="connsiteY5" fmla="*/ 457202 h 914402"/>
                  <a:gd name="connsiteX0" fmla="*/ 0 w 1828800"/>
                  <a:gd name="connsiteY0" fmla="*/ 0 h 914402"/>
                  <a:gd name="connsiteX1" fmla="*/ 1749399 w 1828800"/>
                  <a:gd name="connsiteY1" fmla="*/ 0 h 914402"/>
                  <a:gd name="connsiteX2" fmla="*/ 1828800 w 1828800"/>
                  <a:gd name="connsiteY2" fmla="*/ 457200 h 914402"/>
                  <a:gd name="connsiteX3" fmla="*/ 1749399 w 1828800"/>
                  <a:gd name="connsiteY3" fmla="*/ 914402 h 914402"/>
                  <a:gd name="connsiteX4" fmla="*/ 0 w 1828800"/>
                  <a:gd name="connsiteY4" fmla="*/ 914400 h 914402"/>
                  <a:gd name="connsiteX5" fmla="*/ 118532 w 1828800"/>
                  <a:gd name="connsiteY5" fmla="*/ 457202 h 914402"/>
                  <a:gd name="connsiteX0" fmla="*/ 0 w 1828800"/>
                  <a:gd name="connsiteY0" fmla="*/ 0 h 914402"/>
                  <a:gd name="connsiteX1" fmla="*/ 1710268 w 1828800"/>
                  <a:gd name="connsiteY1" fmla="*/ 0 h 914402"/>
                  <a:gd name="connsiteX2" fmla="*/ 1828800 w 1828800"/>
                  <a:gd name="connsiteY2" fmla="*/ 457200 h 914402"/>
                  <a:gd name="connsiteX3" fmla="*/ 1749399 w 1828800"/>
                  <a:gd name="connsiteY3" fmla="*/ 914402 h 914402"/>
                  <a:gd name="connsiteX4" fmla="*/ 0 w 1828800"/>
                  <a:gd name="connsiteY4" fmla="*/ 914400 h 914402"/>
                  <a:gd name="connsiteX5" fmla="*/ 118532 w 1828800"/>
                  <a:gd name="connsiteY5" fmla="*/ 457202 h 914402"/>
                  <a:gd name="connsiteX0" fmla="*/ 0 w 1828800"/>
                  <a:gd name="connsiteY0" fmla="*/ 0 h 914402"/>
                  <a:gd name="connsiteX1" fmla="*/ 1710268 w 1828800"/>
                  <a:gd name="connsiteY1" fmla="*/ 0 h 914402"/>
                  <a:gd name="connsiteX2" fmla="*/ 1828800 w 1828800"/>
                  <a:gd name="connsiteY2" fmla="*/ 457200 h 914402"/>
                  <a:gd name="connsiteX3" fmla="*/ 1710268 w 1828800"/>
                  <a:gd name="connsiteY3" fmla="*/ 914402 h 914402"/>
                  <a:gd name="connsiteX4" fmla="*/ 0 w 1828800"/>
                  <a:gd name="connsiteY4" fmla="*/ 914400 h 914402"/>
                  <a:gd name="connsiteX5" fmla="*/ 118532 w 1828800"/>
                  <a:gd name="connsiteY5" fmla="*/ 457202 h 914402"/>
                  <a:gd name="connsiteX0" fmla="*/ 0 w 1828800"/>
                  <a:gd name="connsiteY0" fmla="*/ 0 h 914402"/>
                  <a:gd name="connsiteX1" fmla="*/ 1710268 w 1828800"/>
                  <a:gd name="connsiteY1" fmla="*/ 0 h 914402"/>
                  <a:gd name="connsiteX2" fmla="*/ 1828800 w 1828800"/>
                  <a:gd name="connsiteY2" fmla="*/ 457200 h 914402"/>
                  <a:gd name="connsiteX3" fmla="*/ 1710268 w 1828800"/>
                  <a:gd name="connsiteY3" fmla="*/ 914402 h 914402"/>
                  <a:gd name="connsiteX4" fmla="*/ 0 w 1828800"/>
                  <a:gd name="connsiteY4" fmla="*/ 914400 h 914402"/>
                  <a:gd name="connsiteX5" fmla="*/ 154534 w 1828800"/>
                  <a:gd name="connsiteY5" fmla="*/ 457202 h 914402"/>
                  <a:gd name="connsiteX0" fmla="*/ 0 w 1828800"/>
                  <a:gd name="connsiteY0" fmla="*/ 0 h 914402"/>
                  <a:gd name="connsiteX1" fmla="*/ 1674266 w 1828800"/>
                  <a:gd name="connsiteY1" fmla="*/ 0 h 914402"/>
                  <a:gd name="connsiteX2" fmla="*/ 1828800 w 1828800"/>
                  <a:gd name="connsiteY2" fmla="*/ 457200 h 914402"/>
                  <a:gd name="connsiteX3" fmla="*/ 1710268 w 1828800"/>
                  <a:gd name="connsiteY3" fmla="*/ 914402 h 914402"/>
                  <a:gd name="connsiteX4" fmla="*/ 0 w 1828800"/>
                  <a:gd name="connsiteY4" fmla="*/ 914400 h 914402"/>
                  <a:gd name="connsiteX5" fmla="*/ 154534 w 1828800"/>
                  <a:gd name="connsiteY5" fmla="*/ 457202 h 914402"/>
                  <a:gd name="connsiteX0" fmla="*/ 0 w 1828800"/>
                  <a:gd name="connsiteY0" fmla="*/ 0 h 914402"/>
                  <a:gd name="connsiteX1" fmla="*/ 1674266 w 1828800"/>
                  <a:gd name="connsiteY1" fmla="*/ 0 h 914402"/>
                  <a:gd name="connsiteX2" fmla="*/ 1828800 w 1828800"/>
                  <a:gd name="connsiteY2" fmla="*/ 457200 h 914402"/>
                  <a:gd name="connsiteX3" fmla="*/ 1674266 w 1828800"/>
                  <a:gd name="connsiteY3" fmla="*/ 914402 h 914402"/>
                  <a:gd name="connsiteX4" fmla="*/ 0 w 1828800"/>
                  <a:gd name="connsiteY4" fmla="*/ 914400 h 914402"/>
                  <a:gd name="connsiteX5" fmla="*/ 154534 w 1828800"/>
                  <a:gd name="connsiteY5" fmla="*/ 457202 h 914402"/>
                  <a:gd name="connsiteX0" fmla="*/ 0 w 1828800"/>
                  <a:gd name="connsiteY0" fmla="*/ 0 h 914402"/>
                  <a:gd name="connsiteX1" fmla="*/ 1674266 w 1828800"/>
                  <a:gd name="connsiteY1" fmla="*/ 0 h 914402"/>
                  <a:gd name="connsiteX2" fmla="*/ 1828800 w 1828800"/>
                  <a:gd name="connsiteY2" fmla="*/ 457200 h 914402"/>
                  <a:gd name="connsiteX3" fmla="*/ 1674266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4266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85969 w 1828800"/>
                  <a:gd name="connsiteY5" fmla="*/ 457202 h 914402"/>
                  <a:gd name="connsiteX0" fmla="*/ 0 w 1828800"/>
                  <a:gd name="connsiteY0" fmla="*/ 0 h 914402"/>
                  <a:gd name="connsiteX1" fmla="*/ 174283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85969 w 1828800"/>
                  <a:gd name="connsiteY5" fmla="*/ 457202 h 914402"/>
                  <a:gd name="connsiteX0" fmla="*/ 0 w 1828800"/>
                  <a:gd name="connsiteY0" fmla="*/ 0 h 914402"/>
                  <a:gd name="connsiteX1" fmla="*/ 1742831 w 1828800"/>
                  <a:gd name="connsiteY1" fmla="*/ 0 h 914402"/>
                  <a:gd name="connsiteX2" fmla="*/ 1828800 w 1828800"/>
                  <a:gd name="connsiteY2" fmla="*/ 457200 h 914402"/>
                  <a:gd name="connsiteX3" fmla="*/ 1742831 w 1828800"/>
                  <a:gd name="connsiteY3" fmla="*/ 914402 h 914402"/>
                  <a:gd name="connsiteX4" fmla="*/ 0 w 1828800"/>
                  <a:gd name="connsiteY4" fmla="*/ 914400 h 914402"/>
                  <a:gd name="connsiteX5" fmla="*/ 85969 w 1828800"/>
                  <a:gd name="connsiteY5" fmla="*/ 457202 h 914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2">
                    <a:moveTo>
                      <a:pt x="0" y="0"/>
                    </a:moveTo>
                    <a:lnTo>
                      <a:pt x="1742831" y="0"/>
                    </a:lnTo>
                    <a:lnTo>
                      <a:pt x="1828800" y="457200"/>
                    </a:lnTo>
                    <a:lnTo>
                      <a:pt x="1742831" y="914402"/>
                    </a:lnTo>
                    <a:lnTo>
                      <a:pt x="0" y="914400"/>
                    </a:lnTo>
                    <a:lnTo>
                      <a:pt x="85969" y="457202"/>
                    </a:lnTo>
                    <a:close/>
                  </a:path>
                </a:pathLst>
              </a:custGeom>
              <a:ln>
                <a:solidFill>
                  <a:srgbClr val="FFC000"/>
                </a:solidFill>
                <a:headEnd/>
                <a:tailEnd/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lIns="70613" tIns="70613" rIns="70613" bIns="70613" anchor="ctr">
                <a:noAutofit/>
              </a:bodyPr>
              <a:lstStyle/>
              <a:p>
                <a:pPr marL="0" marR="0" lvl="0" indent="0" algn="l" defTabSz="879881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 typeface="Arial" charset="0"/>
                  <a:buChar char="▪"/>
                  <a:tabLst/>
                  <a:defRPr/>
                </a:pPr>
                <a:endPara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296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49" name="TextBox 4">
                <a:extLst>
                  <a:ext uri="{FF2B5EF4-FFF2-40B4-BE49-F238E27FC236}">
                    <a16:creationId xmlns:a16="http://schemas.microsoft.com/office/drawing/2014/main" id="{BF9540B3-924B-42AA-86A3-226C3697D51C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9638454" y="1849726"/>
                <a:ext cx="2095100" cy="42264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marL="0" indent="0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193675" indent="-192088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600">
                    <a:solidFill>
                      <a:schemeClr val="tx1"/>
                    </a:solidFill>
                    <a:latin typeface="+mn-lt"/>
                  </a:defRPr>
                </a:lvl2pPr>
                <a:lvl3pPr marL="457200" indent="-261938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600">
                    <a:solidFill>
                      <a:schemeClr val="tx1"/>
                    </a:solidFill>
                    <a:latin typeface="+mn-lt"/>
                  </a:defRPr>
                </a:lvl3pPr>
                <a:lvl4pPr marL="614363" indent="-1555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600">
                    <a:solidFill>
                      <a:schemeClr val="tx1"/>
                    </a:solidFill>
                    <a:latin typeface="+mn-lt"/>
                  </a:defRPr>
                </a:lvl4pPr>
                <a:lvl5pPr marL="746125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5pPr>
                <a:lvl6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6pPr>
                <a:lvl7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7pPr>
                <a:lvl8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8pPr>
                <a:lvl9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marR="0" lvl="0" indent="0" algn="l" defTabSz="91352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Tx/>
                  <a:buNone/>
                  <a:tabLst/>
                  <a:defRPr/>
                </a:pPr>
                <a:r>
                  <a:rPr lang="en-US" b="1" kern="0" dirty="0">
                    <a:solidFill>
                      <a:srgbClr val="002960"/>
                    </a:solidFill>
                    <a:latin typeface="Arial"/>
                  </a:rPr>
                  <a:t>Step 4</a:t>
                </a: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296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: </a:t>
                </a:r>
                <a:r>
                  <a:rPr kumimoji="0" lang="en-US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296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opulated the  scorecard</a:t>
                </a:r>
              </a:p>
            </p:txBody>
          </p: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DBC55E9E-2641-4917-9614-A4AB64A99E42}"/>
                </a:ext>
              </a:extLst>
            </p:cNvPr>
            <p:cNvGrpSpPr/>
            <p:nvPr/>
          </p:nvGrpSpPr>
          <p:grpSpPr>
            <a:xfrm>
              <a:off x="6726656" y="1733073"/>
              <a:ext cx="2618827" cy="3723578"/>
              <a:chOff x="6726656" y="1733073"/>
              <a:chExt cx="2618827" cy="3723578"/>
            </a:xfrm>
          </p:grpSpPr>
          <p:sp>
            <p:nvSpPr>
              <p:cNvPr id="43" name="Freeform 14">
                <a:extLst>
                  <a:ext uri="{FF2B5EF4-FFF2-40B4-BE49-F238E27FC236}">
                    <a16:creationId xmlns:a16="http://schemas.microsoft.com/office/drawing/2014/main" id="{7F782C2A-7CFF-4E61-B91F-5E1BB426C976}"/>
                  </a:ext>
                </a:extLst>
              </p:cNvPr>
              <p:cNvSpPr/>
              <p:nvPr>
                <p:custDataLst>
                  <p:tags r:id="rId2"/>
                </p:custDataLst>
              </p:nvPr>
            </p:nvSpPr>
            <p:spPr bwMode="auto">
              <a:xfrm>
                <a:off x="6726656" y="1733073"/>
                <a:ext cx="2618827" cy="700916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1 h 914400"/>
                  <a:gd name="connsiteX0" fmla="*/ 0 w 1828800"/>
                  <a:gd name="connsiteY0" fmla="*/ 0 h 914400"/>
                  <a:gd name="connsiteX1" fmla="*/ 1749399 w 1828800"/>
                  <a:gd name="connsiteY1" fmla="*/ 1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1 h 914400"/>
                  <a:gd name="connsiteX0" fmla="*/ 0 w 1828800"/>
                  <a:gd name="connsiteY0" fmla="*/ 0 h 914402"/>
                  <a:gd name="connsiteX1" fmla="*/ 1749399 w 1828800"/>
                  <a:gd name="connsiteY1" fmla="*/ 1 h 914402"/>
                  <a:gd name="connsiteX2" fmla="*/ 1828800 w 1828800"/>
                  <a:gd name="connsiteY2" fmla="*/ 457200 h 914402"/>
                  <a:gd name="connsiteX3" fmla="*/ 1749399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1 h 914402"/>
                  <a:gd name="connsiteX0" fmla="*/ 0 w 1828800"/>
                  <a:gd name="connsiteY0" fmla="*/ 0 h 914402"/>
                  <a:gd name="connsiteX1" fmla="*/ 1749399 w 1828800"/>
                  <a:gd name="connsiteY1" fmla="*/ 1 h 914402"/>
                  <a:gd name="connsiteX2" fmla="*/ 1828800 w 1828800"/>
                  <a:gd name="connsiteY2" fmla="*/ 457200 h 914402"/>
                  <a:gd name="connsiteX3" fmla="*/ 1749399 w 1828800"/>
                  <a:gd name="connsiteY3" fmla="*/ 914402 h 914402"/>
                  <a:gd name="connsiteX4" fmla="*/ 0 w 1828800"/>
                  <a:gd name="connsiteY4" fmla="*/ 914400 h 914402"/>
                  <a:gd name="connsiteX5" fmla="*/ 79401 w 1828800"/>
                  <a:gd name="connsiteY5" fmla="*/ 457202 h 914402"/>
                  <a:gd name="connsiteX0" fmla="*/ 0 w 1828800"/>
                  <a:gd name="connsiteY0" fmla="*/ 0 h 914402"/>
                  <a:gd name="connsiteX1" fmla="*/ 1749399 w 1828800"/>
                  <a:gd name="connsiteY1" fmla="*/ 0 h 914402"/>
                  <a:gd name="connsiteX2" fmla="*/ 1828800 w 1828800"/>
                  <a:gd name="connsiteY2" fmla="*/ 457200 h 914402"/>
                  <a:gd name="connsiteX3" fmla="*/ 1749399 w 1828800"/>
                  <a:gd name="connsiteY3" fmla="*/ 914402 h 914402"/>
                  <a:gd name="connsiteX4" fmla="*/ 0 w 1828800"/>
                  <a:gd name="connsiteY4" fmla="*/ 914400 h 914402"/>
                  <a:gd name="connsiteX5" fmla="*/ 79401 w 1828800"/>
                  <a:gd name="connsiteY5" fmla="*/ 457202 h 914402"/>
                  <a:gd name="connsiteX0" fmla="*/ 0 w 1828800"/>
                  <a:gd name="connsiteY0" fmla="*/ 0 h 914402"/>
                  <a:gd name="connsiteX1" fmla="*/ 1749399 w 1828800"/>
                  <a:gd name="connsiteY1" fmla="*/ 0 h 914402"/>
                  <a:gd name="connsiteX2" fmla="*/ 1828800 w 1828800"/>
                  <a:gd name="connsiteY2" fmla="*/ 457200 h 914402"/>
                  <a:gd name="connsiteX3" fmla="*/ 1749399 w 1828800"/>
                  <a:gd name="connsiteY3" fmla="*/ 914402 h 914402"/>
                  <a:gd name="connsiteX4" fmla="*/ 0 w 1828800"/>
                  <a:gd name="connsiteY4" fmla="*/ 914400 h 914402"/>
                  <a:gd name="connsiteX5" fmla="*/ 79401 w 1828800"/>
                  <a:gd name="connsiteY5" fmla="*/ 457202 h 914402"/>
                  <a:gd name="connsiteX0" fmla="*/ 0 w 1828800"/>
                  <a:gd name="connsiteY0" fmla="*/ 0 h 914402"/>
                  <a:gd name="connsiteX1" fmla="*/ 1749399 w 1828800"/>
                  <a:gd name="connsiteY1" fmla="*/ 0 h 914402"/>
                  <a:gd name="connsiteX2" fmla="*/ 1828800 w 1828800"/>
                  <a:gd name="connsiteY2" fmla="*/ 457200 h 914402"/>
                  <a:gd name="connsiteX3" fmla="*/ 1749399 w 1828800"/>
                  <a:gd name="connsiteY3" fmla="*/ 914402 h 914402"/>
                  <a:gd name="connsiteX4" fmla="*/ 0 w 1828800"/>
                  <a:gd name="connsiteY4" fmla="*/ 914400 h 914402"/>
                  <a:gd name="connsiteX5" fmla="*/ 118532 w 1828800"/>
                  <a:gd name="connsiteY5" fmla="*/ 457202 h 914402"/>
                  <a:gd name="connsiteX0" fmla="*/ 0 w 1828800"/>
                  <a:gd name="connsiteY0" fmla="*/ 0 h 914402"/>
                  <a:gd name="connsiteX1" fmla="*/ 1710268 w 1828800"/>
                  <a:gd name="connsiteY1" fmla="*/ 0 h 914402"/>
                  <a:gd name="connsiteX2" fmla="*/ 1828800 w 1828800"/>
                  <a:gd name="connsiteY2" fmla="*/ 457200 h 914402"/>
                  <a:gd name="connsiteX3" fmla="*/ 1749399 w 1828800"/>
                  <a:gd name="connsiteY3" fmla="*/ 914402 h 914402"/>
                  <a:gd name="connsiteX4" fmla="*/ 0 w 1828800"/>
                  <a:gd name="connsiteY4" fmla="*/ 914400 h 914402"/>
                  <a:gd name="connsiteX5" fmla="*/ 118532 w 1828800"/>
                  <a:gd name="connsiteY5" fmla="*/ 457202 h 914402"/>
                  <a:gd name="connsiteX0" fmla="*/ 0 w 1828800"/>
                  <a:gd name="connsiteY0" fmla="*/ 0 h 914402"/>
                  <a:gd name="connsiteX1" fmla="*/ 1710268 w 1828800"/>
                  <a:gd name="connsiteY1" fmla="*/ 0 h 914402"/>
                  <a:gd name="connsiteX2" fmla="*/ 1828800 w 1828800"/>
                  <a:gd name="connsiteY2" fmla="*/ 457200 h 914402"/>
                  <a:gd name="connsiteX3" fmla="*/ 1710268 w 1828800"/>
                  <a:gd name="connsiteY3" fmla="*/ 914402 h 914402"/>
                  <a:gd name="connsiteX4" fmla="*/ 0 w 1828800"/>
                  <a:gd name="connsiteY4" fmla="*/ 914400 h 914402"/>
                  <a:gd name="connsiteX5" fmla="*/ 118532 w 1828800"/>
                  <a:gd name="connsiteY5" fmla="*/ 457202 h 914402"/>
                  <a:gd name="connsiteX0" fmla="*/ 0 w 1828800"/>
                  <a:gd name="connsiteY0" fmla="*/ 0 h 914402"/>
                  <a:gd name="connsiteX1" fmla="*/ 1710268 w 1828800"/>
                  <a:gd name="connsiteY1" fmla="*/ 0 h 914402"/>
                  <a:gd name="connsiteX2" fmla="*/ 1828800 w 1828800"/>
                  <a:gd name="connsiteY2" fmla="*/ 457200 h 914402"/>
                  <a:gd name="connsiteX3" fmla="*/ 1710268 w 1828800"/>
                  <a:gd name="connsiteY3" fmla="*/ 914402 h 914402"/>
                  <a:gd name="connsiteX4" fmla="*/ 0 w 1828800"/>
                  <a:gd name="connsiteY4" fmla="*/ 914400 h 914402"/>
                  <a:gd name="connsiteX5" fmla="*/ 154534 w 1828800"/>
                  <a:gd name="connsiteY5" fmla="*/ 457202 h 914402"/>
                  <a:gd name="connsiteX0" fmla="*/ 0 w 1828800"/>
                  <a:gd name="connsiteY0" fmla="*/ 0 h 914402"/>
                  <a:gd name="connsiteX1" fmla="*/ 1674266 w 1828800"/>
                  <a:gd name="connsiteY1" fmla="*/ 0 h 914402"/>
                  <a:gd name="connsiteX2" fmla="*/ 1828800 w 1828800"/>
                  <a:gd name="connsiteY2" fmla="*/ 457200 h 914402"/>
                  <a:gd name="connsiteX3" fmla="*/ 1710268 w 1828800"/>
                  <a:gd name="connsiteY3" fmla="*/ 914402 h 914402"/>
                  <a:gd name="connsiteX4" fmla="*/ 0 w 1828800"/>
                  <a:gd name="connsiteY4" fmla="*/ 914400 h 914402"/>
                  <a:gd name="connsiteX5" fmla="*/ 154534 w 1828800"/>
                  <a:gd name="connsiteY5" fmla="*/ 457202 h 914402"/>
                  <a:gd name="connsiteX0" fmla="*/ 0 w 1828800"/>
                  <a:gd name="connsiteY0" fmla="*/ 0 h 914402"/>
                  <a:gd name="connsiteX1" fmla="*/ 1674266 w 1828800"/>
                  <a:gd name="connsiteY1" fmla="*/ 0 h 914402"/>
                  <a:gd name="connsiteX2" fmla="*/ 1828800 w 1828800"/>
                  <a:gd name="connsiteY2" fmla="*/ 457200 h 914402"/>
                  <a:gd name="connsiteX3" fmla="*/ 1674266 w 1828800"/>
                  <a:gd name="connsiteY3" fmla="*/ 914402 h 914402"/>
                  <a:gd name="connsiteX4" fmla="*/ 0 w 1828800"/>
                  <a:gd name="connsiteY4" fmla="*/ 914400 h 914402"/>
                  <a:gd name="connsiteX5" fmla="*/ 154534 w 1828800"/>
                  <a:gd name="connsiteY5" fmla="*/ 457202 h 914402"/>
                  <a:gd name="connsiteX0" fmla="*/ 0 w 1828800"/>
                  <a:gd name="connsiteY0" fmla="*/ 0 h 914402"/>
                  <a:gd name="connsiteX1" fmla="*/ 1674266 w 1828800"/>
                  <a:gd name="connsiteY1" fmla="*/ 0 h 914402"/>
                  <a:gd name="connsiteX2" fmla="*/ 1828800 w 1828800"/>
                  <a:gd name="connsiteY2" fmla="*/ 457200 h 914402"/>
                  <a:gd name="connsiteX3" fmla="*/ 1674266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4266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0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152299 w 1828800"/>
                  <a:gd name="connsiteY5" fmla="*/ 457202 h 914402"/>
                  <a:gd name="connsiteX0" fmla="*/ 0 w 1828800"/>
                  <a:gd name="connsiteY0" fmla="*/ 0 h 914402"/>
                  <a:gd name="connsiteX1" fmla="*/ 167650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85969 w 1828800"/>
                  <a:gd name="connsiteY5" fmla="*/ 457202 h 914402"/>
                  <a:gd name="connsiteX0" fmla="*/ 0 w 1828800"/>
                  <a:gd name="connsiteY0" fmla="*/ 0 h 914402"/>
                  <a:gd name="connsiteX1" fmla="*/ 1742831 w 1828800"/>
                  <a:gd name="connsiteY1" fmla="*/ 0 h 914402"/>
                  <a:gd name="connsiteX2" fmla="*/ 1828800 w 1828800"/>
                  <a:gd name="connsiteY2" fmla="*/ 457200 h 914402"/>
                  <a:gd name="connsiteX3" fmla="*/ 1676501 w 1828800"/>
                  <a:gd name="connsiteY3" fmla="*/ 914402 h 914402"/>
                  <a:gd name="connsiteX4" fmla="*/ 0 w 1828800"/>
                  <a:gd name="connsiteY4" fmla="*/ 914400 h 914402"/>
                  <a:gd name="connsiteX5" fmla="*/ 85969 w 1828800"/>
                  <a:gd name="connsiteY5" fmla="*/ 457202 h 914402"/>
                  <a:gd name="connsiteX0" fmla="*/ 0 w 1828800"/>
                  <a:gd name="connsiteY0" fmla="*/ 0 h 914402"/>
                  <a:gd name="connsiteX1" fmla="*/ 1742831 w 1828800"/>
                  <a:gd name="connsiteY1" fmla="*/ 0 h 914402"/>
                  <a:gd name="connsiteX2" fmla="*/ 1828800 w 1828800"/>
                  <a:gd name="connsiteY2" fmla="*/ 457200 h 914402"/>
                  <a:gd name="connsiteX3" fmla="*/ 1742831 w 1828800"/>
                  <a:gd name="connsiteY3" fmla="*/ 914402 h 914402"/>
                  <a:gd name="connsiteX4" fmla="*/ 0 w 1828800"/>
                  <a:gd name="connsiteY4" fmla="*/ 914400 h 914402"/>
                  <a:gd name="connsiteX5" fmla="*/ 85969 w 1828800"/>
                  <a:gd name="connsiteY5" fmla="*/ 457202 h 914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2">
                    <a:moveTo>
                      <a:pt x="0" y="0"/>
                    </a:moveTo>
                    <a:lnTo>
                      <a:pt x="1742831" y="0"/>
                    </a:lnTo>
                    <a:lnTo>
                      <a:pt x="1828800" y="457200"/>
                    </a:lnTo>
                    <a:lnTo>
                      <a:pt x="1742831" y="914402"/>
                    </a:lnTo>
                    <a:lnTo>
                      <a:pt x="0" y="914400"/>
                    </a:lnTo>
                    <a:lnTo>
                      <a:pt x="85969" y="457202"/>
                    </a:lnTo>
                    <a:close/>
                  </a:path>
                </a:pathLst>
              </a:custGeom>
              <a:ln>
                <a:solidFill>
                  <a:schemeClr val="accent2"/>
                </a:solidFill>
                <a:headEnd/>
                <a:tailEnd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70613" tIns="70613" rIns="70613" bIns="70613" anchor="ctr">
                <a:noAutofit/>
              </a:bodyPr>
              <a:lstStyle/>
              <a:p>
                <a:pPr marL="0" marR="0" lvl="0" indent="0" algn="l" defTabSz="879881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 typeface="Arial" charset="0"/>
                  <a:buChar char="▪"/>
                  <a:tabLst/>
                  <a:defRPr/>
                </a:pPr>
                <a:endPara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296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44" name="TextBox 4">
                <a:extLst>
                  <a:ext uri="{FF2B5EF4-FFF2-40B4-BE49-F238E27FC236}">
                    <a16:creationId xmlns:a16="http://schemas.microsoft.com/office/drawing/2014/main" id="{3553563F-1439-4065-9470-7F07E51C5FAD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6832859" y="1750749"/>
                <a:ext cx="2512624" cy="63396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 marL="0" indent="0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193675" indent="-192088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600">
                    <a:solidFill>
                      <a:schemeClr val="tx1"/>
                    </a:solidFill>
                    <a:latin typeface="+mn-lt"/>
                  </a:defRPr>
                </a:lvl2pPr>
                <a:lvl3pPr marL="457200" indent="-261938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600">
                    <a:solidFill>
                      <a:schemeClr val="tx1"/>
                    </a:solidFill>
                    <a:latin typeface="+mn-lt"/>
                  </a:defRPr>
                </a:lvl3pPr>
                <a:lvl4pPr marL="614363" indent="-1555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600">
                    <a:solidFill>
                      <a:schemeClr val="tx1"/>
                    </a:solidFill>
                    <a:latin typeface="+mn-lt"/>
                  </a:defRPr>
                </a:lvl4pPr>
                <a:lvl5pPr marL="746125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5pPr>
                <a:lvl6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6pPr>
                <a:lvl7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7pPr>
                <a:lvl8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8pPr>
                <a:lvl9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marR="0" lvl="0" indent="0" algn="l" defTabSz="91352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296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tep 3: </a:t>
                </a:r>
                <a:r>
                  <a:rPr kumimoji="0" lang="en-US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296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etting thresholds and prioritization of indicators </a:t>
                </a:r>
              </a:p>
            </p:txBody>
          </p:sp>
          <p:sp>
            <p:nvSpPr>
              <p:cNvPr id="46" name="Rectangle 25">
                <a:extLst>
                  <a:ext uri="{FF2B5EF4-FFF2-40B4-BE49-F238E27FC236}">
                    <a16:creationId xmlns:a16="http://schemas.microsoft.com/office/drawing/2014/main" id="{CB0BC604-FB79-4A72-A4FD-AB9A42F43412}"/>
                  </a:ext>
                </a:extLst>
              </p:cNvPr>
              <p:cNvSpPr txBox="1"/>
              <p:nvPr/>
            </p:nvSpPr>
            <p:spPr>
              <a:xfrm>
                <a:off x="6726656" y="2614373"/>
                <a:ext cx="2618827" cy="2842278"/>
              </a:xfrm>
              <a:prstGeom prst="rect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vert="horz" wrap="square" lIns="0" tIns="0" rIns="0" bIns="0" rtlCol="0" anchor="t" anchorCtr="0">
                <a:spAutoFit/>
              </a:bodyPr>
              <a:lstStyle>
                <a:lvl1pPr marL="0" lvl="0" indent="0" defTabSz="895350">
                  <a:buFontTx/>
                  <a:buNone/>
                  <a:defRPr sz="1600">
                    <a:latin typeface="+mn-lt"/>
                  </a:defRPr>
                </a:lvl1pPr>
                <a:lvl2pPr marL="193675" indent="-192088" defTabSz="895350">
                  <a:defRPr sz="1600">
                    <a:latin typeface="+mn-lt"/>
                  </a:defRPr>
                </a:lvl2pPr>
                <a:lvl3pPr marL="457200" indent="-261938" defTabSz="895350">
                  <a:buSzPct val="120000"/>
                  <a:buChar char="–"/>
                  <a:defRPr sz="1600">
                    <a:latin typeface="+mn-lt"/>
                  </a:defRPr>
                </a:lvl3pPr>
                <a:lvl4pPr marL="614363" indent="-155575" defTabSz="895350">
                  <a:buSzPct val="120000"/>
                  <a:buChar char="▫"/>
                  <a:defRPr sz="1600">
                    <a:latin typeface="+mn-lt"/>
                  </a:defRPr>
                </a:lvl4pPr>
                <a:lvl5pPr marL="746125" indent="-130175" defTabSz="895350">
                  <a:buSzPct val="89000"/>
                  <a:buChar char="-"/>
                  <a:defRPr sz="1600">
                    <a:latin typeface="+mn-lt"/>
                  </a:defRPr>
                </a:lvl5pPr>
                <a:lvl6pPr marL="12033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latin typeface="+mn-lt"/>
                  </a:defRPr>
                </a:lvl6pPr>
                <a:lvl7pPr marL="16605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latin typeface="+mn-lt"/>
                  </a:defRPr>
                </a:lvl7pPr>
                <a:lvl8pPr marL="21177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latin typeface="+mn-lt"/>
                  </a:defRPr>
                </a:lvl8pPr>
                <a:lvl9pPr marL="25749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latin typeface="+mn-lt"/>
                  </a:defRPr>
                </a:lvl9pPr>
              </a:lstStyle>
              <a:p>
                <a:pPr marL="1620" marR="0" lvl="1" indent="0" algn="l" defTabSz="913526" rtl="0" eaLnBrk="0" fontAlgn="base" latinLnBrk="0" hangingPunct="0">
                  <a:lnSpc>
                    <a:spcPct val="100000"/>
                  </a:lnSpc>
                  <a:spcBef>
                    <a:spcPct val="3000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tabLst/>
                  <a:defRPr/>
                </a:pP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Identified performance color thresholds </a:t>
                </a:r>
              </a:p>
              <a:p>
                <a:pPr marL="1620" marR="0" lvl="1" indent="0" algn="l" defTabSz="913526" rtl="0" eaLnBrk="0" fontAlgn="base" latinLnBrk="0" hangingPunct="0">
                  <a:lnSpc>
                    <a:spcPct val="100000"/>
                  </a:lnSpc>
                  <a:spcBef>
                    <a:spcPct val="3000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tabLst/>
                  <a:defRPr/>
                </a:pPr>
                <a:endPara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  <a:p>
                <a:pPr marL="197607" marR="0" lvl="1" indent="-195987" algn="l" defTabSz="913526" rtl="0" eaLnBrk="0" fontAlgn="base" latinLnBrk="0" hangingPunct="0">
                  <a:lnSpc>
                    <a:spcPct val="100000"/>
                  </a:lnSpc>
                  <a:spcBef>
                    <a:spcPct val="3000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 typeface="Arial" charset="0"/>
                  <a:buChar char="▪"/>
                  <a:tabLst/>
                  <a:defRPr/>
                </a:pPr>
                <a:r>
                  <a:rPr lang="en-US" kern="0" dirty="0">
                    <a:solidFill>
                      <a:srgbClr val="000000"/>
                    </a:solidFill>
                    <a:latin typeface="Calibri" panose="020F0502020204030204"/>
                  </a:rPr>
                  <a:t>B</a:t>
                </a:r>
                <a:r>
                  <a:rPr kumimoji="0" lang="en-US" sz="16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ased</a:t>
                </a: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 on country/county targets. </a:t>
                </a:r>
              </a:p>
              <a:p>
                <a:pPr marL="197607" marR="0" lvl="1" indent="-195987" algn="l" defTabSz="913526" rtl="0" eaLnBrk="0" fontAlgn="base" latinLnBrk="0" hangingPunct="0">
                  <a:lnSpc>
                    <a:spcPct val="100000"/>
                  </a:lnSpc>
                  <a:spcBef>
                    <a:spcPct val="3000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 typeface="Arial" charset="0"/>
                  <a:buChar char="▪"/>
                  <a:tabLst/>
                  <a:defRPr/>
                </a:pPr>
                <a:r>
                  <a:rPr kumimoji="0" lang="en-US" sz="16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Prioritized indicators based on data availability: 26 indicators identified </a:t>
                </a:r>
              </a:p>
              <a:p>
                <a:pPr marL="1620" marR="0" lvl="1" indent="0" algn="l" defTabSz="913526" rtl="0" eaLnBrk="0" fontAlgn="base" latinLnBrk="0" hangingPunct="0">
                  <a:lnSpc>
                    <a:spcPct val="100000"/>
                  </a:lnSpc>
                  <a:spcBef>
                    <a:spcPct val="3000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  <a:p>
                <a:pPr marL="1620" marR="0" lvl="1" indent="0" algn="l" defTabSz="913526" rtl="0" eaLnBrk="0" fontAlgn="base" latinLnBrk="0" hangingPunct="0">
                  <a:lnSpc>
                    <a:spcPct val="100000"/>
                  </a:lnSpc>
                  <a:spcBef>
                    <a:spcPct val="3000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  <a:p>
                <a:pPr marL="1620" marR="0" lvl="1" indent="0" algn="l" defTabSz="913526" rtl="0" eaLnBrk="0" fontAlgn="base" latinLnBrk="0" hangingPunct="0">
                  <a:lnSpc>
                    <a:spcPct val="100000"/>
                  </a:lnSpc>
                  <a:spcBef>
                    <a:spcPct val="3000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  <a:p>
                <a:pPr marL="1620" marR="0" lvl="1" indent="0" algn="l" defTabSz="913526" rtl="0" eaLnBrk="0" fontAlgn="base" latinLnBrk="0" hangingPunct="0">
                  <a:lnSpc>
                    <a:spcPct val="100000"/>
                  </a:lnSpc>
                  <a:spcBef>
                    <a:spcPct val="30000"/>
                  </a:spcBef>
                  <a:spcAft>
                    <a:spcPct val="0"/>
                  </a:spcAft>
                  <a:buClr>
                    <a:srgbClr val="002960"/>
                  </a:buClr>
                  <a:buSzPct val="125000"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4250786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400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30" name="Object 2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26"/>
          <p:cNvSpPr txBox="1"/>
          <p:nvPr>
            <p:custDataLst>
              <p:tags r:id="rId3"/>
            </p:custDataLst>
          </p:nvPr>
        </p:nvSpPr>
        <p:spPr>
          <a:xfrm>
            <a:off x="908434" y="1023414"/>
            <a:ext cx="2881688" cy="548188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lIns="77343" tIns="77343" rIns="77343" bIns="77343" rtlCol="0" anchor="t" anchorCtr="0">
            <a:noAutofit/>
          </a:bodyPr>
          <a:lstStyle>
            <a:lvl1pPr marL="0" lvl="0" indent="0" defTabSz="895350">
              <a:buFontTx/>
              <a:buNone/>
              <a:defRPr sz="1600">
                <a:latin typeface="+mn-lt"/>
              </a:defRPr>
            </a:lvl1pPr>
            <a:lvl2pPr marL="193675" lvl="1" indent="-192088" defTabSz="895350">
              <a:defRPr sz="1600">
                <a:latin typeface="+mn-lt"/>
              </a:defRPr>
            </a:lvl2pPr>
            <a:lvl3pPr marL="457200" lvl="2" indent="-261938" defTabSz="895350">
              <a:buSzPct val="120000"/>
              <a:buChar char="–"/>
              <a:defRPr sz="1600">
                <a:latin typeface="+mn-lt"/>
              </a:defRPr>
            </a:lvl3pPr>
            <a:lvl4pPr marL="614363" lvl="3" indent="-155575" defTabSz="895350">
              <a:buSzPct val="120000"/>
              <a:buChar char="▫"/>
              <a:defRPr sz="1600">
                <a:latin typeface="+mn-lt"/>
              </a:defRPr>
            </a:lvl4pPr>
            <a:lvl5pPr marL="746125" lvl="4" indent="-130175" defTabSz="895350">
              <a:buSzPct val="8900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 marL="0" marR="0" lvl="0" indent="0" algn="l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610184" y="165999"/>
            <a:ext cx="9841586" cy="7201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Kenyan  Nutrition scorecard  indicators</a:t>
            </a:r>
            <a:r>
              <a:rPr kumimoji="0" lang="fr-CH" sz="2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Arial" charset="0"/>
                <a:cs typeface="Cambria"/>
              </a:rPr>
              <a:t/>
            </a:r>
            <a:br>
              <a:rPr kumimoji="0" lang="fr-CH" sz="2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Arial" charset="0"/>
                <a:cs typeface="Cambria"/>
              </a:rPr>
            </a:br>
            <a:endParaRPr lang="en-US" sz="2000" b="1" dirty="0"/>
          </a:p>
        </p:txBody>
      </p:sp>
      <p:sp>
        <p:nvSpPr>
          <p:cNvPr id="34" name="Rectangle 3"/>
          <p:cNvSpPr txBox="1"/>
          <p:nvPr>
            <p:custDataLst>
              <p:tags r:id="rId5"/>
            </p:custDataLst>
          </p:nvPr>
        </p:nvSpPr>
        <p:spPr>
          <a:xfrm>
            <a:off x="1244750" y="1988482"/>
            <a:ext cx="1407329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lvl="0" indent="0" defTabSz="895350">
              <a:buFontTx/>
              <a:buNone/>
              <a:defRPr>
                <a:solidFill>
                  <a:schemeClr val="tx2"/>
                </a:solidFill>
                <a:latin typeface="+mn-lt"/>
              </a:defRPr>
            </a:lvl1pPr>
            <a:lvl2pPr marL="193675" lvl="1" indent="-192088" defTabSz="895350">
              <a:defRPr sz="1600">
                <a:latin typeface="+mn-lt"/>
              </a:defRPr>
            </a:lvl2pPr>
            <a:lvl3pPr marL="457200" lvl="2" indent="-261938" defTabSz="895350">
              <a:buSzPct val="120000"/>
              <a:buChar char="–"/>
              <a:defRPr sz="1600">
                <a:latin typeface="+mn-lt"/>
              </a:defRPr>
            </a:lvl3pPr>
            <a:lvl4pPr marL="614363" lvl="3" indent="-155575" defTabSz="895350">
              <a:buSzPct val="120000"/>
              <a:buChar char="▫"/>
              <a:defRPr sz="1600">
                <a:latin typeface="+mn-lt"/>
              </a:defRPr>
            </a:lvl4pPr>
            <a:lvl5pPr marL="746125" lvl="4" indent="-130175" defTabSz="895350">
              <a:buSzPct val="8900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 marL="0" marR="0" lvl="0" indent="0" algn="l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ational Category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</p:txBody>
      </p:sp>
      <p:sp>
        <p:nvSpPr>
          <p:cNvPr id="75" name="Rectangle 3"/>
          <p:cNvSpPr txBox="1"/>
          <p:nvPr>
            <p:custDataLst>
              <p:tags r:id="rId6"/>
            </p:custDataLst>
          </p:nvPr>
        </p:nvSpPr>
        <p:spPr>
          <a:xfrm>
            <a:off x="7561068" y="1676421"/>
            <a:ext cx="3106933" cy="1692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>
              <a:buFontTx/>
              <a:buNone/>
              <a:defRPr sz="1600">
                <a:latin typeface="+mn-lt"/>
              </a:defRPr>
            </a:lvl1pPr>
            <a:lvl2pPr marL="193675" lvl="1" indent="-192088" defTabSz="895350">
              <a:defRPr sz="1600">
                <a:latin typeface="+mn-lt"/>
              </a:defRPr>
            </a:lvl2pPr>
            <a:lvl3pPr marL="457200" lvl="2" indent="-261938" defTabSz="895350">
              <a:buSzPct val="120000"/>
              <a:buChar char="–"/>
              <a:defRPr sz="1600">
                <a:latin typeface="+mn-lt"/>
              </a:defRPr>
            </a:lvl3pPr>
            <a:lvl4pPr marL="614363" lvl="3" indent="-155575" defTabSz="895350">
              <a:buSzPct val="120000"/>
              <a:buChar char="▫"/>
              <a:defRPr sz="1600">
                <a:latin typeface="+mn-lt"/>
              </a:defRPr>
            </a:lvl4pPr>
            <a:lvl5pPr marL="746125" lvl="4" indent="-130175" defTabSz="895350">
              <a:buSzPct val="8900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 marL="193675" marR="0" lvl="1" indent="-192088" algn="l" defTabSz="895350" rtl="0" eaLnBrk="1" fontAlgn="t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Arial" charset="0"/>
              <a:buChar char="▪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4F2B675-B757-47F8-ADBA-E3A5ACD4BFA6}"/>
              </a:ext>
            </a:extLst>
          </p:cNvPr>
          <p:cNvSpPr txBox="1"/>
          <p:nvPr/>
        </p:nvSpPr>
        <p:spPr>
          <a:xfrm>
            <a:off x="5735077" y="1155934"/>
            <a:ext cx="5716693" cy="503535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non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Under 5 years wasting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Under 5 years Underweigh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Under 5 years Stunting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Under 5 Overweigh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Low Birth Weigh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Under 5 years </a:t>
            </a:r>
            <a:r>
              <a:rPr lang="en-US" dirty="0" err="1"/>
              <a:t>Anaemia</a:t>
            </a:r>
            <a:r>
              <a:rPr lang="en-US" dirty="0"/>
              <a:t> (6-59months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Prevalence of </a:t>
            </a:r>
            <a:r>
              <a:rPr lang="en-US" dirty="0" err="1"/>
              <a:t>Aneamia</a:t>
            </a:r>
            <a:r>
              <a:rPr lang="en-US" dirty="0"/>
              <a:t> among pregnant wome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% of pregnant women who take IFAS for at least 90 day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% of infants &lt;6months on exclusive breastfeeding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% </a:t>
            </a:r>
            <a:r>
              <a:rPr lang="en-US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 adults 18-69 years who are overweight or obese</a:t>
            </a:r>
            <a:endParaRPr lang="en-US" dirty="0">
              <a:solidFill>
                <a:srgbClr val="000000"/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inimum dietary diversity for children 6-23 month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% of households using an improved sanitation facility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2" name="Rectangle 3">
            <a:extLst>
              <a:ext uri="{FF2B5EF4-FFF2-40B4-BE49-F238E27FC236}">
                <a16:creationId xmlns:a16="http://schemas.microsoft.com/office/drawing/2014/main" id="{2B711B79-875A-449F-9014-29BB4887CB34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7436458" y="770692"/>
            <a:ext cx="2078446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lvl="0" indent="0" defTabSz="895350">
              <a:buFontTx/>
              <a:buNone/>
              <a:defRPr sz="1600">
                <a:latin typeface="+mn-lt"/>
              </a:defRPr>
            </a:lvl1pPr>
            <a:lvl2pPr marL="193675" lvl="1" indent="-192088" defTabSz="895350">
              <a:defRPr sz="1600">
                <a:latin typeface="+mn-lt"/>
              </a:defRPr>
            </a:lvl2pPr>
            <a:lvl3pPr marL="457200" lvl="2" indent="-261938" defTabSz="895350">
              <a:buSzPct val="120000"/>
              <a:buChar char="–"/>
              <a:defRPr sz="1600">
                <a:latin typeface="+mn-lt"/>
              </a:defRPr>
            </a:lvl3pPr>
            <a:lvl4pPr marL="614363" lvl="3" indent="-155575" defTabSz="895350">
              <a:buSzPct val="120000"/>
              <a:buChar char="▫"/>
              <a:defRPr sz="1600">
                <a:latin typeface="+mn-lt"/>
              </a:defRPr>
            </a:lvl4pPr>
            <a:lvl5pPr marL="746125" lvl="4" indent="-130175" defTabSz="895350">
              <a:buSzPct val="8900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latin typeface="+mn-lt"/>
              </a:defRPr>
            </a:lvl9pPr>
          </a:lstStyle>
          <a:p>
            <a:pPr marL="0" marR="0" lvl="0" indent="0" algn="l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dicator</a:t>
            </a:r>
          </a:p>
        </p:txBody>
      </p:sp>
      <p:sp>
        <p:nvSpPr>
          <p:cNvPr id="24" name="Arrow: Striped Right 23">
            <a:extLst>
              <a:ext uri="{FF2B5EF4-FFF2-40B4-BE49-F238E27FC236}">
                <a16:creationId xmlns:a16="http://schemas.microsoft.com/office/drawing/2014/main" id="{C2A1F292-D42C-45DA-BFD6-8A21467C56A5}"/>
              </a:ext>
            </a:extLst>
          </p:cNvPr>
          <p:cNvSpPr/>
          <p:nvPr/>
        </p:nvSpPr>
        <p:spPr>
          <a:xfrm>
            <a:off x="4320209" y="3429000"/>
            <a:ext cx="978408" cy="484632"/>
          </a:xfrm>
          <a:prstGeom prst="strip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98629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  <p:tag name="THINKCELLSHAPEDONOTDELETE" val="phQYv1nyiN0S8fbZKwcMVE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uPxG9y4Ui4.wSvZghSE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  <p:tag name="THINKCELLSHAPEDONOTDELETE" val="pNO2.waeaz068L_l4Z89p3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CbEedX5KE.cfHVlOEm7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xTIVLWF0a668Ls5jkj4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  <p:tag name="THINKCELLSHAPEDONOTDELETE" val="pNO2.waeaz068L_l4Z89p3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xTIVLWF0a668Ls5jkj4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_jCgAcDDNU.O.smjg1HjV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i0j_SUfekytLfzDJN3J9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LCtScyrQ60uj.Q0lpOByL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lSlqDvVeUS.wmykq7s9p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lrbmW7JEiqt4LGPRFnP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7GykcLVvE6Ki.2A.FLme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0e32izGEKO1x.QBO4tN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_jCgAcDDNU.O.smjg1HjV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i0j_SUfekytLfzDJN3J9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LIMITERS" val="3.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3_Office Theme">
  <a:themeElements>
    <a:clrScheme name="Orange">
      <a:dk1>
        <a:srgbClr val="000000"/>
      </a:dk1>
      <a:lt1>
        <a:sysClr val="window" lastClr="FFFFFF"/>
      </a:lt1>
      <a:dk2>
        <a:srgbClr val="637052"/>
      </a:dk2>
      <a:lt2>
        <a:srgbClr val="CCDDEA"/>
      </a:lt2>
      <a:accent1>
        <a:srgbClr val="E48312"/>
      </a:accent1>
      <a:accent2>
        <a:srgbClr val="BD582C"/>
      </a:accent2>
      <a:accent3>
        <a:srgbClr val="865640"/>
      </a:accent3>
      <a:accent4>
        <a:srgbClr val="9B8357"/>
      </a:accent4>
      <a:accent5>
        <a:srgbClr val="C2BC80"/>
      </a:accent5>
      <a:accent6>
        <a:srgbClr val="94A088"/>
      </a:accent6>
      <a:hlink>
        <a:srgbClr val="2998E3"/>
      </a:hlink>
      <a:folHlink>
        <a:srgbClr val="8C8C8C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3DBE013D8C7604B983817C7E9012623" ma:contentTypeVersion="13" ma:contentTypeDescription="Create a new document." ma:contentTypeScope="" ma:versionID="4759bb97f929ebb65ab321d903c13500">
  <xsd:schema xmlns:xsd="http://www.w3.org/2001/XMLSchema" xmlns:xs="http://www.w3.org/2001/XMLSchema" xmlns:p="http://schemas.microsoft.com/office/2006/metadata/properties" xmlns:ns3="558c2a68-3c86-4550-8c73-07409d1eb331" xmlns:ns4="b0a39b10-22b5-49f8-8575-047a62c6bbc0" targetNamespace="http://schemas.microsoft.com/office/2006/metadata/properties" ma:root="true" ma:fieldsID="8de939500b6c431dfd3722e24caa04a1" ns3:_="" ns4:_="">
    <xsd:import namespace="558c2a68-3c86-4550-8c73-07409d1eb331"/>
    <xsd:import namespace="b0a39b10-22b5-49f8-8575-047a62c6bbc0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58c2a68-3c86-4550-8c73-07409d1eb33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0a39b10-22b5-49f8-8575-047a62c6bbc0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20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9781205-0415-4628-B6E5-5D22FC10D09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58c2a68-3c86-4550-8c73-07409d1eb331"/>
    <ds:schemaRef ds:uri="b0a39b10-22b5-49f8-8575-047a62c6bbc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3AFE775-00A2-4FE8-BCE2-2C9383E33179}">
  <ds:schemaRefs>
    <ds:schemaRef ds:uri="b0a39b10-22b5-49f8-8575-047a62c6bbc0"/>
    <ds:schemaRef ds:uri="http://schemas.microsoft.com/office/2006/documentManagement/types"/>
    <ds:schemaRef ds:uri="http://purl.org/dc/dcmitype/"/>
    <ds:schemaRef ds:uri="558c2a68-3c86-4550-8c73-07409d1eb331"/>
    <ds:schemaRef ds:uri="http://schemas.openxmlformats.org/package/2006/metadata/core-properties"/>
    <ds:schemaRef ds:uri="http://www.w3.org/XML/1998/namespace"/>
    <ds:schemaRef ds:uri="http://purl.org/dc/elements/1.1/"/>
    <ds:schemaRef ds:uri="http://schemas.microsoft.com/office/infopath/2007/PartnerControls"/>
    <ds:schemaRef ds:uri="http://schemas.microsoft.com/office/2006/metadata/properties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85B46D8C-7038-461B-A868-E291C406C3A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910</TotalTime>
  <Words>1197</Words>
  <Application>Microsoft Office PowerPoint</Application>
  <PresentationFormat>Widescreen</PresentationFormat>
  <Paragraphs>210</Paragraphs>
  <Slides>16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7" baseType="lpstr">
      <vt:lpstr>Arial</vt:lpstr>
      <vt:lpstr>Calibri</vt:lpstr>
      <vt:lpstr>Calibri Light</vt:lpstr>
      <vt:lpstr>Cambria</vt:lpstr>
      <vt:lpstr>Courier New</vt:lpstr>
      <vt:lpstr>Times New Roman</vt:lpstr>
      <vt:lpstr>Wingdings</vt:lpstr>
      <vt:lpstr>1_Office Theme</vt:lpstr>
      <vt:lpstr>2_Office Theme</vt:lpstr>
      <vt:lpstr>3_Office Theme</vt:lpstr>
      <vt:lpstr>think-cell Slide</vt:lpstr>
      <vt:lpstr>PowerPoint Presentation</vt:lpstr>
      <vt:lpstr>PowerPoint Presentation</vt:lpstr>
      <vt:lpstr>The scorecard supports and strengthens existing action and accountability mechanisms</vt:lpstr>
      <vt:lpstr>The online scorecard management tool (web platform) functionalities</vt:lpstr>
      <vt:lpstr>PowerPoint Presentation</vt:lpstr>
      <vt:lpstr>Why the Kenya Nutrition Scorecard </vt:lpstr>
      <vt:lpstr>The Kenya Nutrition  Scorecard  Milestones </vt:lpstr>
      <vt:lpstr>PowerPoint Presentation</vt:lpstr>
      <vt:lpstr>The Kenyan  Nutrition scorecard  indicators </vt:lpstr>
      <vt:lpstr>PowerPoint Presentation</vt:lpstr>
      <vt:lpstr>PowerPoint Presentation</vt:lpstr>
      <vt:lpstr>KENYA NUTRITION SCORECARD: (Q2/2020)</vt:lpstr>
      <vt:lpstr>Development Process- Experiences</vt:lpstr>
      <vt:lpstr>Next Steps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ucy Kinyua</dc:creator>
  <cp:lastModifiedBy>Leila Odhiambo</cp:lastModifiedBy>
  <cp:revision>92</cp:revision>
  <dcterms:created xsi:type="dcterms:W3CDTF">2020-09-17T08:23:15Z</dcterms:created>
  <dcterms:modified xsi:type="dcterms:W3CDTF">2020-10-14T15:43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3DBE013D8C7604B983817C7E9012623</vt:lpwstr>
  </property>
</Properties>
</file>